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8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9144000" cy="6858000" type="screen4x3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88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57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1362" autoAdjust="0"/>
  </p:normalViewPr>
  <p:slideViewPr>
    <p:cSldViewPr snapToGrid="0" showGuides="1">
      <p:cViewPr varScale="1">
        <p:scale>
          <a:sx n="67" d="100"/>
          <a:sy n="67" d="100"/>
        </p:scale>
        <p:origin x="1500" y="72"/>
      </p:cViewPr>
      <p:guideLst>
        <p:guide pos="2880"/>
        <p:guide orient="horz" pos="2160"/>
      </p:guideLst>
    </p:cSldViewPr>
  </p:slideViewPr>
  <p:outlineViewPr>
    <p:cViewPr>
      <p:scale>
        <a:sx n="33" d="100"/>
        <a:sy n="33" d="100"/>
      </p:scale>
      <p:origin x="0" y="-240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96"/>
    </p:cViewPr>
  </p:sorterViewPr>
  <p:notesViewPr>
    <p:cSldViewPr snapToGrid="0" showGuides="1">
      <p:cViewPr varScale="1">
        <p:scale>
          <a:sx n="84" d="100"/>
          <a:sy n="84" d="100"/>
        </p:scale>
        <p:origin x="90" y="3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latini, D. (Daniele)" userId="a0515ebd-da5c-4a45-8435-99db3cfd7153" providerId="ADAL" clId="{441CDAD8-864A-474F-BE56-C04547F73898}"/>
    <pc:docChg chg="custSel modSld">
      <pc:chgData name="Platini, D. (Daniele)" userId="a0515ebd-da5c-4a45-8435-99db3cfd7153" providerId="ADAL" clId="{441CDAD8-864A-474F-BE56-C04547F73898}" dt="2022-09-27T07:00:29.621" v="446" actId="122"/>
      <pc:docMkLst>
        <pc:docMk/>
      </pc:docMkLst>
      <pc:sldChg chg="addSp delSp modSp mod">
        <pc:chgData name="Platini, D. (Daniele)" userId="a0515ebd-da5c-4a45-8435-99db3cfd7153" providerId="ADAL" clId="{441CDAD8-864A-474F-BE56-C04547F73898}" dt="2022-09-27T07:00:29.621" v="446" actId="122"/>
        <pc:sldMkLst>
          <pc:docMk/>
          <pc:sldMk cId="132013994" sldId="256"/>
        </pc:sldMkLst>
        <pc:spChg chg="mod">
          <ac:chgData name="Platini, D. (Daniele)" userId="a0515ebd-da5c-4a45-8435-99db3cfd7153" providerId="ADAL" clId="{441CDAD8-864A-474F-BE56-C04547F73898}" dt="2022-09-26T13:03:35.441" v="405" actId="20577"/>
          <ac:spMkLst>
            <pc:docMk/>
            <pc:sldMk cId="132013994" sldId="256"/>
            <ac:spMk id="4" creationId="{96BC0F12-B7E8-4AD9-AA68-269631861407}"/>
          </ac:spMkLst>
        </pc:spChg>
        <pc:spChg chg="mod">
          <ac:chgData name="Platini, D. (Daniele)" userId="a0515ebd-da5c-4a45-8435-99db3cfd7153" providerId="ADAL" clId="{441CDAD8-864A-474F-BE56-C04547F73898}" dt="2022-09-27T07:00:29.621" v="446" actId="122"/>
          <ac:spMkLst>
            <pc:docMk/>
            <pc:sldMk cId="132013994" sldId="256"/>
            <ac:spMk id="6" creationId="{2652148A-4ECD-4DFC-9BEA-18A07A1AC587}"/>
          </ac:spMkLst>
        </pc:spChg>
        <pc:spChg chg="del mod">
          <ac:chgData name="Platini, D. (Daniele)" userId="a0515ebd-da5c-4a45-8435-99db3cfd7153" providerId="ADAL" clId="{441CDAD8-864A-474F-BE56-C04547F73898}" dt="2022-09-26T13:04:10.311" v="406" actId="478"/>
          <ac:spMkLst>
            <pc:docMk/>
            <pc:sldMk cId="132013994" sldId="256"/>
            <ac:spMk id="8" creationId="{FA60B1FF-50EC-4777-9E8F-EDC135208530}"/>
          </ac:spMkLst>
        </pc:spChg>
        <pc:picChg chg="add mod">
          <ac:chgData name="Platini, D. (Daniele)" userId="a0515ebd-da5c-4a45-8435-99db3cfd7153" providerId="ADAL" clId="{441CDAD8-864A-474F-BE56-C04547F73898}" dt="2022-09-27T06:59:11.265" v="421" actId="1038"/>
          <ac:picMkLst>
            <pc:docMk/>
            <pc:sldMk cId="132013994" sldId="256"/>
            <ac:picMk id="3" creationId="{240AF12E-677D-4138-9B47-C9C736FEB2F6}"/>
          </ac:picMkLst>
        </pc:picChg>
        <pc:picChg chg="del">
          <ac:chgData name="Platini, D. (Daniele)" userId="a0515ebd-da5c-4a45-8435-99db3cfd7153" providerId="ADAL" clId="{441CDAD8-864A-474F-BE56-C04547F73898}" dt="2022-09-26T12:59:22.817" v="290" actId="478"/>
          <ac:picMkLst>
            <pc:docMk/>
            <pc:sldMk cId="132013994" sldId="256"/>
            <ac:picMk id="5" creationId="{2C91BC84-D744-40C3-A147-E274FFE3BCD7}"/>
          </ac:picMkLst>
        </pc:picChg>
        <pc:picChg chg="add mod">
          <ac:chgData name="Platini, D. (Daniele)" userId="a0515ebd-da5c-4a45-8435-99db3cfd7153" providerId="ADAL" clId="{441CDAD8-864A-474F-BE56-C04547F73898}" dt="2022-09-26T12:59:28.089" v="292" actId="1076"/>
          <ac:picMkLst>
            <pc:docMk/>
            <pc:sldMk cId="132013994" sldId="256"/>
            <ac:picMk id="7" creationId="{2BC2C296-E050-41DC-94DE-C14F5D586A92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49225E-E130-415D-83EE-98412E61793C}" type="datetimeFigureOut">
              <a:rPr lang="en-GB" smtClean="0"/>
              <a:t>27/09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A1064-C6EB-4BA5-ADC3-F44E404ADB80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02502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FC7052-F87B-420D-8606-D995B9287722}" type="datetimeFigureOut">
              <a:rPr lang="en-GB" smtClean="0"/>
              <a:t>27/09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C2C7CC-2EF8-4CCD-BB0D-C657BB26E5DD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7554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7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8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9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gif"/><Relationship Id="rId3" Type="http://schemas.openxmlformats.org/officeDocument/2006/relationships/oleObject" Target="../embeddings/oleObject12.bin"/><Relationship Id="rId7" Type="http://schemas.openxmlformats.org/officeDocument/2006/relationships/image" Target="../media/image10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9.gif"/><Relationship Id="rId5" Type="http://schemas.openxmlformats.org/officeDocument/2006/relationships/image" Target="../media/image8.gif"/><Relationship Id="rId4" Type="http://schemas.openxmlformats.org/officeDocument/2006/relationships/image" Target="../media/image1.emf"/><Relationship Id="rId9" Type="http://schemas.openxmlformats.org/officeDocument/2006/relationships/image" Target="../media/image12.gi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6.png"/><Relationship Id="rId7" Type="http://schemas.openxmlformats.org/officeDocument/2006/relationships/image" Target="../media/image1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C8AF50D-2AE6-41E6-9065-CD876C95E15E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59999" y="4221299"/>
            <a:ext cx="7092000" cy="1378839"/>
          </a:xfrm>
          <a:noFill/>
        </p:spPr>
        <p:txBody>
          <a:bodyPr wrap="square" lIns="0" tIns="0" rIns="0" bIns="0" rtlCol="0" anchor="b" anchorCtr="0">
            <a:sp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ts val="0"/>
              </a:spcBef>
              <a:defRPr lang="en-GB" sz="5600" b="1" ker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59999" y="5637213"/>
            <a:ext cx="7092000" cy="615553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2000" b="0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subtitle style</a:t>
            </a:r>
            <a:endParaRPr lang="en-GB" dirty="0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024A87DD-96EC-43DE-B09F-BA3F9B02343C}"/>
              </a:ext>
            </a:extLst>
          </p:cNvPr>
          <p:cNvSpPr/>
          <p:nvPr userDrawn="1"/>
        </p:nvSpPr>
        <p:spPr>
          <a:xfrm flipH="1" flipV="1">
            <a:off x="4320985" y="-2"/>
            <a:ext cx="4823015" cy="482301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GB" dirty="0" err="1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C9A8CBC-9423-4950-AC3C-668CFAF24147}"/>
              </a:ext>
            </a:extLst>
          </p:cNvPr>
          <p:cNvGrpSpPr/>
          <p:nvPr userDrawn="1"/>
        </p:nvGrpSpPr>
        <p:grpSpPr>
          <a:xfrm>
            <a:off x="9203090" y="6248400"/>
            <a:ext cx="1530000" cy="606985"/>
            <a:chOff x="9203090" y="4536515"/>
            <a:chExt cx="1440002" cy="606985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AA7AC5B-0ABE-4990-8EFD-015734A0EC71}"/>
                </a:ext>
              </a:extLst>
            </p:cNvPr>
            <p:cNvCxnSpPr/>
            <p:nvPr/>
          </p:nvCxnSpPr>
          <p:spPr bwMode="gray">
            <a:xfrm flipH="1">
              <a:off x="9203092" y="514350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65DC6D7-62A1-495C-BA13-ED8853F5688A}"/>
                </a:ext>
              </a:extLst>
            </p:cNvPr>
            <p:cNvCxnSpPr/>
            <p:nvPr/>
          </p:nvCxnSpPr>
          <p:spPr bwMode="gray">
            <a:xfrm flipH="1">
              <a:off x="9203092" y="4536515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C0A5886-551F-4589-83AF-171BB7BF8962}"/>
                </a:ext>
              </a:extLst>
            </p:cNvPr>
            <p:cNvSpPr/>
            <p:nvPr/>
          </p:nvSpPr>
          <p:spPr bwMode="gray">
            <a:xfrm flipH="1">
              <a:off x="9203090" y="4721225"/>
              <a:ext cx="1439999" cy="422274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000" b="0" dirty="0">
                  <a:solidFill>
                    <a:schemeClr val="tx1"/>
                  </a:solidFill>
                </a:rPr>
                <a:t>Logo margin bottom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7B1E957-865D-49BE-9E12-1BF747DB277B}"/>
              </a:ext>
            </a:extLst>
          </p:cNvPr>
          <p:cNvGrpSpPr/>
          <p:nvPr userDrawn="1"/>
        </p:nvGrpSpPr>
        <p:grpSpPr>
          <a:xfrm>
            <a:off x="8801099" y="6915196"/>
            <a:ext cx="342904" cy="1530000"/>
            <a:chOff x="8801099" y="5203311"/>
            <a:chExt cx="342904" cy="1440000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23CD7C6-FA43-4393-B71C-AE51E27BC60F}"/>
                </a:ext>
              </a:extLst>
            </p:cNvPr>
            <p:cNvCxnSpPr/>
            <p:nvPr/>
          </p:nvCxnSpPr>
          <p:spPr bwMode="gray">
            <a:xfrm rot="5400000" flipH="1">
              <a:off x="8081575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0099604-9A01-471A-A77D-B97C7FAD424B}"/>
                </a:ext>
              </a:extLst>
            </p:cNvPr>
            <p:cNvCxnSpPr/>
            <p:nvPr/>
          </p:nvCxnSpPr>
          <p:spPr bwMode="gray">
            <a:xfrm rot="5400000" flipH="1">
              <a:off x="8424003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A61B70C-E7A4-47AF-B4BF-72A23482A88F}"/>
                </a:ext>
              </a:extLst>
            </p:cNvPr>
            <p:cNvSpPr/>
            <p:nvPr/>
          </p:nvSpPr>
          <p:spPr bwMode="gray">
            <a:xfrm rot="5400000" flipH="1">
              <a:off x="8251993" y="5752418"/>
              <a:ext cx="1439999" cy="34178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000" b="0" dirty="0">
                  <a:solidFill>
                    <a:schemeClr val="tx1"/>
                  </a:solidFill>
                </a:rPr>
                <a:t>Logo margin right</a:t>
              </a: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A01A6CC0-C5D9-4DDA-BA10-4F02F3D2BE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0299" y="509381"/>
            <a:ext cx="2973600" cy="436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717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1998000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2499475" y="1298829"/>
            <a:ext cx="1998000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4646525" y="1298829"/>
            <a:ext cx="1998000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1"/>
          </p:nvPr>
        </p:nvSpPr>
        <p:spPr bwMode="gray">
          <a:xfrm>
            <a:off x="6793575" y="1298829"/>
            <a:ext cx="1998000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53738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4140000" cy="2256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651575" y="1298829"/>
            <a:ext cx="4140000" cy="2256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8645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2"/>
          </p:nvPr>
        </p:nvSpPr>
        <p:spPr bwMode="gray">
          <a:xfrm>
            <a:off x="352425" y="3746495"/>
            <a:ext cx="4140000" cy="2256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13" name="Content Placeholder 16"/>
          <p:cNvSpPr>
            <a:spLocks noGrp="1"/>
          </p:cNvSpPr>
          <p:nvPr>
            <p:ph sz="quarter" idx="23"/>
          </p:nvPr>
        </p:nvSpPr>
        <p:spPr bwMode="gray">
          <a:xfrm>
            <a:off x="4651575" y="3746495"/>
            <a:ext cx="4140000" cy="2256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3209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BF8AD6C1-E0DE-43C8-BF93-E4A068A6CB76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52425" y="1260883"/>
            <a:ext cx="8439150" cy="480336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5400" b="1">
                <a:solidFill>
                  <a:schemeClr val="bg1"/>
                </a:solidFill>
              </a:defRPr>
            </a:lvl1pPr>
            <a:lvl2pPr marL="719138" indent="-719138">
              <a:lnSpc>
                <a:spcPct val="90000"/>
              </a:lnSpc>
              <a:spcBef>
                <a:spcPts val="0"/>
              </a:spcBef>
              <a:buFontTx/>
              <a:buBlip>
                <a:blip r:embed="rId5"/>
              </a:buBlip>
              <a:defRPr sz="5400" b="1">
                <a:solidFill>
                  <a:schemeClr val="bg1"/>
                </a:solidFill>
              </a:defRPr>
            </a:lvl2pPr>
            <a:lvl3pPr marL="1255713" indent="-536575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3pPr>
            <a:lvl4pPr marL="1792288" indent="-534988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4pPr>
            <a:lvl5pPr marL="2328863" indent="-534988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18" name="Rectangle 17"/>
          <p:cNvSpPr/>
          <p:nvPr/>
        </p:nvSpPr>
        <p:spPr bwMode="gray">
          <a:xfrm>
            <a:off x="-1591365" y="1405512"/>
            <a:ext cx="1531557" cy="180249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8000" bIns="108000" rtlCol="0" anchor="b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AkzoNobel Bullet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Only use the </a:t>
            </a:r>
            <a:r>
              <a:rPr lang="en-US" sz="900" b="0" u="sng">
                <a:solidFill>
                  <a:schemeClr val="tx1"/>
                </a:solidFill>
              </a:rPr>
              <a:t>List Level buttons</a:t>
            </a:r>
            <a:r>
              <a:rPr lang="en-US" sz="900" b="0">
                <a:solidFill>
                  <a:schemeClr val="tx1"/>
                </a:solidFill>
              </a:rPr>
              <a:t> to apply the</a:t>
            </a:r>
            <a:r>
              <a:rPr lang="en-US" sz="900" b="0" baseline="0">
                <a:solidFill>
                  <a:schemeClr val="tx1"/>
                </a:solidFill>
              </a:rPr>
              <a:t> </a:t>
            </a:r>
            <a:r>
              <a:rPr lang="en-US" sz="900" b="0" i="0" u="none" baseline="0">
                <a:solidFill>
                  <a:schemeClr val="tx1"/>
                </a:solidFill>
              </a:rPr>
              <a:t>AkzoNobel Branded Bullets</a:t>
            </a:r>
            <a:endParaRPr lang="en-US" sz="900" b="0" i="0" u="none" dirty="0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 bwMode="gray">
          <a:xfrm>
            <a:off x="-1493181" y="1531453"/>
            <a:ext cx="1335187" cy="795026"/>
            <a:chOff x="-1573454" y="1531453"/>
            <a:chExt cx="1335187" cy="795026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6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21" name="Multiply 20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dirty="0" err="1"/>
            </a:p>
          </p:txBody>
        </p:sp>
      </p:grpSp>
      <p:sp>
        <p:nvSpPr>
          <p:cNvPr id="22" name="Rectangle 21"/>
          <p:cNvSpPr/>
          <p:nvPr userDrawn="1"/>
        </p:nvSpPr>
        <p:spPr bwMode="gray">
          <a:xfrm>
            <a:off x="-1591365" y="1405512"/>
            <a:ext cx="1531557" cy="180249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8000" bIns="108000" rtlCol="0" anchor="b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AkzoNobel Bullet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Only use the </a:t>
            </a:r>
            <a:r>
              <a:rPr lang="en-US" sz="900" b="0" u="sng">
                <a:solidFill>
                  <a:schemeClr val="tx1"/>
                </a:solidFill>
              </a:rPr>
              <a:t>List Level buttons</a:t>
            </a:r>
            <a:r>
              <a:rPr lang="en-US" sz="900" b="0">
                <a:solidFill>
                  <a:schemeClr val="tx1"/>
                </a:solidFill>
              </a:rPr>
              <a:t> to apply the</a:t>
            </a:r>
            <a:r>
              <a:rPr lang="en-US" sz="900" b="0" baseline="0">
                <a:solidFill>
                  <a:schemeClr val="tx1"/>
                </a:solidFill>
              </a:rPr>
              <a:t> </a:t>
            </a:r>
            <a:r>
              <a:rPr lang="en-US" sz="900" b="0" i="0" u="none" baseline="0">
                <a:solidFill>
                  <a:schemeClr val="tx1"/>
                </a:solidFill>
              </a:rPr>
              <a:t>AkzoNobel Branded Bullets</a:t>
            </a:r>
            <a:endParaRPr lang="en-US" sz="900" b="0" i="0" u="none" dirty="0">
              <a:solidFill>
                <a:schemeClr val="tx1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 bwMode="gray">
          <a:xfrm>
            <a:off x="-1493181" y="1531453"/>
            <a:ext cx="1335187" cy="795026"/>
            <a:chOff x="-1573454" y="1531453"/>
            <a:chExt cx="1335187" cy="795026"/>
          </a:xfrm>
        </p:grpSpPr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6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25" name="Multiply 24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dirty="0" err="1"/>
            </a:p>
          </p:txBody>
        </p: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512C83D9-794D-4D8B-A5A6-3E5B72726DA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5" y="315057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0373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Header 2, white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124CC1D3-77EA-43FA-A0A1-D6DE86ABB008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grpSp>
        <p:nvGrpSpPr>
          <p:cNvPr id="7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72" name="Freeform 7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8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86" name="Picture Placeholder 85"/>
          <p:cNvSpPr>
            <a:spLocks noGrp="1"/>
          </p:cNvSpPr>
          <p:nvPr>
            <p:ph type="pic" sz="quarter" idx="18"/>
          </p:nvPr>
        </p:nvSpPr>
        <p:spPr bwMode="gray">
          <a:xfrm>
            <a:off x="0" y="-12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it-IT" noProof="0"/>
              <a:t>Fare clic sull'icona per inserire un'immagine</a:t>
            </a:r>
            <a:endParaRPr lang="en-US" noProof="0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-221258"/>
            <a:ext cx="36000" cy="36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  </a:t>
            </a:r>
            <a:endParaRPr lang="en-GB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3" name="Rectangle 42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49" name="Rectangle 48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50" name="Rectangle 49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1" name="Straight Arrow Connector 50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4" idx="0"/>
              <a:endCxn id="44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44" idx="3"/>
              <a:endCxn id="44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Oval 5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  <p:sp>
        <p:nvSpPr>
          <p:cNvPr id="52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360000" y="334800"/>
            <a:ext cx="4428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051211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Header 2, blue logo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D9F8680C-6683-4B7D-B5D8-03462E6417AD}"/>
              </a:ext>
            </a:extLst>
          </p:cNvPr>
          <p:cNvGrpSpPr/>
          <p:nvPr userDrawn="1"/>
        </p:nvGrpSpPr>
        <p:grpSpPr>
          <a:xfrm>
            <a:off x="0" y="0"/>
            <a:ext cx="9144001" cy="6858000"/>
            <a:chOff x="-1" y="0"/>
            <a:chExt cx="9144001" cy="6858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1D47AB0-1322-4E63-A6A3-1DF7D7E91411}"/>
                </a:ext>
              </a:extLst>
            </p:cNvPr>
            <p:cNvSpPr/>
            <p:nvPr userDrawn="1"/>
          </p:nvSpPr>
          <p:spPr>
            <a:xfrm>
              <a:off x="8801100" y="0"/>
              <a:ext cx="342900" cy="68580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5959EC5-E7FA-4B40-B9C1-0DE687A287EB}"/>
                </a:ext>
              </a:extLst>
            </p:cNvPr>
            <p:cNvSpPr/>
            <p:nvPr userDrawn="1"/>
          </p:nvSpPr>
          <p:spPr>
            <a:xfrm>
              <a:off x="-1" y="0"/>
              <a:ext cx="6411481" cy="68580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7F5818D-E3EB-41E2-AF84-B2B5B6B04C99}"/>
                </a:ext>
              </a:extLst>
            </p:cNvPr>
            <p:cNvSpPr/>
            <p:nvPr userDrawn="1"/>
          </p:nvSpPr>
          <p:spPr>
            <a:xfrm>
              <a:off x="6411482" y="0"/>
              <a:ext cx="2386800" cy="68580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1725EFDB-9512-48C9-AF2D-D3921E2942A0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sp>
        <p:nvSpPr>
          <p:cNvPr id="71" name="Picture Placeholder 70"/>
          <p:cNvSpPr>
            <a:spLocks noGrp="1"/>
          </p:cNvSpPr>
          <p:nvPr>
            <p:ph type="pic" sz="quarter" idx="18"/>
          </p:nvPr>
        </p:nvSpPr>
        <p:spPr bwMode="gray">
          <a:xfrm>
            <a:off x="0" y="-600"/>
            <a:ext cx="9144001" cy="6859200"/>
          </a:xfrm>
          <a:custGeom>
            <a:avLst/>
            <a:gdLst>
              <a:gd name="connsiteX0" fmla="*/ 8266284 w 9144001"/>
              <a:gd name="connsiteY0" fmla="*/ 460518 h 6859200"/>
              <a:gd name="connsiteX1" fmla="*/ 8323992 w 9144001"/>
              <a:gd name="connsiteY1" fmla="*/ 530639 h 6859200"/>
              <a:gd name="connsiteX2" fmla="*/ 8258040 w 9144001"/>
              <a:gd name="connsiteY2" fmla="*/ 621384 h 6859200"/>
              <a:gd name="connsiteX3" fmla="*/ 8245675 w 9144001"/>
              <a:gd name="connsiteY3" fmla="*/ 621384 h 6859200"/>
              <a:gd name="connsiteX4" fmla="*/ 8245675 w 9144001"/>
              <a:gd name="connsiteY4" fmla="*/ 464643 h 6859200"/>
              <a:gd name="connsiteX5" fmla="*/ 8266284 w 9144001"/>
              <a:gd name="connsiteY5" fmla="*/ 460518 h 6859200"/>
              <a:gd name="connsiteX6" fmla="*/ 7994795 w 9144001"/>
              <a:gd name="connsiteY6" fmla="*/ 452051 h 6859200"/>
              <a:gd name="connsiteX7" fmla="*/ 8031892 w 9144001"/>
              <a:gd name="connsiteY7" fmla="*/ 538728 h 6859200"/>
              <a:gd name="connsiteX8" fmla="*/ 7994795 w 9144001"/>
              <a:gd name="connsiteY8" fmla="*/ 617151 h 6859200"/>
              <a:gd name="connsiteX9" fmla="*/ 7953575 w 9144001"/>
              <a:gd name="connsiteY9" fmla="*/ 534601 h 6859200"/>
              <a:gd name="connsiteX10" fmla="*/ 7994795 w 9144001"/>
              <a:gd name="connsiteY10" fmla="*/ 452051 h 6859200"/>
              <a:gd name="connsiteX11" fmla="*/ 7388424 w 9144001"/>
              <a:gd name="connsiteY11" fmla="*/ 452051 h 6859200"/>
              <a:gd name="connsiteX12" fmla="*/ 7426524 w 9144001"/>
              <a:gd name="connsiteY12" fmla="*/ 538728 h 6859200"/>
              <a:gd name="connsiteX13" fmla="*/ 7388424 w 9144001"/>
              <a:gd name="connsiteY13" fmla="*/ 617151 h 6859200"/>
              <a:gd name="connsiteX14" fmla="*/ 7350324 w 9144001"/>
              <a:gd name="connsiteY14" fmla="*/ 534601 h 6859200"/>
              <a:gd name="connsiteX15" fmla="*/ 7388424 w 9144001"/>
              <a:gd name="connsiteY15" fmla="*/ 452051 h 6859200"/>
              <a:gd name="connsiteX16" fmla="*/ 8561057 w 9144001"/>
              <a:gd name="connsiteY16" fmla="*/ 447817 h 6859200"/>
              <a:gd name="connsiteX17" fmla="*/ 8603391 w 9144001"/>
              <a:gd name="connsiteY17" fmla="*/ 504967 h 6859200"/>
              <a:gd name="connsiteX18" fmla="*/ 8522957 w 9144001"/>
              <a:gd name="connsiteY18" fmla="*/ 504967 h 6859200"/>
              <a:gd name="connsiteX19" fmla="*/ 8561057 w 9144001"/>
              <a:gd name="connsiteY19" fmla="*/ 447817 h 6859200"/>
              <a:gd name="connsiteX20" fmla="*/ 6563877 w 9144001"/>
              <a:gd name="connsiteY20" fmla="*/ 411834 h 6859200"/>
              <a:gd name="connsiteX21" fmla="*/ 6601025 w 9144001"/>
              <a:gd name="connsiteY21" fmla="*/ 547300 h 6859200"/>
              <a:gd name="connsiteX22" fmla="*/ 6518475 w 9144001"/>
              <a:gd name="connsiteY22" fmla="*/ 547300 h 6859200"/>
              <a:gd name="connsiteX23" fmla="*/ 6563877 w 9144001"/>
              <a:gd name="connsiteY23" fmla="*/ 411834 h 6859200"/>
              <a:gd name="connsiteX24" fmla="*/ 7030628 w 9144001"/>
              <a:gd name="connsiteY24" fmla="*/ 407601 h 6859200"/>
              <a:gd name="connsiteX25" fmla="*/ 7030628 w 9144001"/>
              <a:gd name="connsiteY25" fmla="*/ 448547 h 6859200"/>
              <a:gd name="connsiteX26" fmla="*/ 7121971 w 9144001"/>
              <a:gd name="connsiteY26" fmla="*/ 448547 h 6859200"/>
              <a:gd name="connsiteX27" fmla="*/ 7034780 w 9144001"/>
              <a:gd name="connsiteY27" fmla="*/ 620517 h 6859200"/>
              <a:gd name="connsiteX28" fmla="*/ 7030628 w 9144001"/>
              <a:gd name="connsiteY28" fmla="*/ 657368 h 6859200"/>
              <a:gd name="connsiteX29" fmla="*/ 7213313 w 9144001"/>
              <a:gd name="connsiteY29" fmla="*/ 657368 h 6859200"/>
              <a:gd name="connsiteX30" fmla="*/ 7242376 w 9144001"/>
              <a:gd name="connsiteY30" fmla="*/ 628705 h 6859200"/>
              <a:gd name="connsiteX31" fmla="*/ 7242376 w 9144001"/>
              <a:gd name="connsiteY31" fmla="*/ 612328 h 6859200"/>
              <a:gd name="connsiteX32" fmla="*/ 7192553 w 9144001"/>
              <a:gd name="connsiteY32" fmla="*/ 616423 h 6859200"/>
              <a:gd name="connsiteX33" fmla="*/ 7134427 w 9144001"/>
              <a:gd name="connsiteY33" fmla="*/ 616423 h 6859200"/>
              <a:gd name="connsiteX34" fmla="*/ 7238224 w 9144001"/>
              <a:gd name="connsiteY34" fmla="*/ 407601 h 6859200"/>
              <a:gd name="connsiteX35" fmla="*/ 7030628 w 9144001"/>
              <a:gd name="connsiteY35" fmla="*/ 407601 h 6859200"/>
              <a:gd name="connsiteX36" fmla="*/ 8565147 w 9144001"/>
              <a:gd name="connsiteY36" fmla="*/ 407600 h 6859200"/>
              <a:gd name="connsiteX37" fmla="*/ 8436176 w 9144001"/>
              <a:gd name="connsiteY37" fmla="*/ 530436 h 6859200"/>
              <a:gd name="connsiteX38" fmla="*/ 8560987 w 9144001"/>
              <a:gd name="connsiteY38" fmla="*/ 657367 h 6859200"/>
              <a:gd name="connsiteX39" fmla="*/ 8664995 w 9144001"/>
              <a:gd name="connsiteY39" fmla="*/ 579571 h 6859200"/>
              <a:gd name="connsiteX40" fmla="*/ 8594269 w 9144001"/>
              <a:gd name="connsiteY40" fmla="*/ 600044 h 6859200"/>
              <a:gd name="connsiteX41" fmla="*/ 8523543 w 9144001"/>
              <a:gd name="connsiteY41" fmla="*/ 538626 h 6859200"/>
              <a:gd name="connsiteX42" fmla="*/ 8677476 w 9144001"/>
              <a:gd name="connsiteY42" fmla="*/ 538626 h 6859200"/>
              <a:gd name="connsiteX43" fmla="*/ 8677476 w 9144001"/>
              <a:gd name="connsiteY43" fmla="*/ 509964 h 6859200"/>
              <a:gd name="connsiteX44" fmla="*/ 8565147 w 9144001"/>
              <a:gd name="connsiteY44" fmla="*/ 407600 h 6859200"/>
              <a:gd name="connsiteX45" fmla="*/ 7995875 w 9144001"/>
              <a:gd name="connsiteY45" fmla="*/ 407600 h 6859200"/>
              <a:gd name="connsiteX46" fmla="*/ 7866792 w 9144001"/>
              <a:gd name="connsiteY46" fmla="*/ 538626 h 6859200"/>
              <a:gd name="connsiteX47" fmla="*/ 7991711 w 9144001"/>
              <a:gd name="connsiteY47" fmla="*/ 657367 h 6859200"/>
              <a:gd name="connsiteX48" fmla="*/ 8120792 w 9144001"/>
              <a:gd name="connsiteY48" fmla="*/ 526341 h 6859200"/>
              <a:gd name="connsiteX49" fmla="*/ 7995875 w 9144001"/>
              <a:gd name="connsiteY49" fmla="*/ 407600 h 6859200"/>
              <a:gd name="connsiteX50" fmla="*/ 7388427 w 9144001"/>
              <a:gd name="connsiteY50" fmla="*/ 407600 h 6859200"/>
              <a:gd name="connsiteX51" fmla="*/ 7255076 w 9144001"/>
              <a:gd name="connsiteY51" fmla="*/ 538626 h 6859200"/>
              <a:gd name="connsiteX52" fmla="*/ 7388427 w 9144001"/>
              <a:gd name="connsiteY52" fmla="*/ 657367 h 6859200"/>
              <a:gd name="connsiteX53" fmla="*/ 7521776 w 9144001"/>
              <a:gd name="connsiteY53" fmla="*/ 526343 h 6859200"/>
              <a:gd name="connsiteX54" fmla="*/ 7388427 w 9144001"/>
              <a:gd name="connsiteY54" fmla="*/ 407600 h 6859200"/>
              <a:gd name="connsiteX55" fmla="*/ 6539411 w 9144001"/>
              <a:gd name="connsiteY55" fmla="*/ 341985 h 6859200"/>
              <a:gd name="connsiteX56" fmla="*/ 6427459 w 9144001"/>
              <a:gd name="connsiteY56" fmla="*/ 657368 h 6859200"/>
              <a:gd name="connsiteX57" fmla="*/ 6477215 w 9144001"/>
              <a:gd name="connsiteY57" fmla="*/ 657368 h 6859200"/>
              <a:gd name="connsiteX58" fmla="*/ 6506240 w 9144001"/>
              <a:gd name="connsiteY58" fmla="*/ 579546 h 6859200"/>
              <a:gd name="connsiteX59" fmla="*/ 6614045 w 9144001"/>
              <a:gd name="connsiteY59" fmla="*/ 579546 h 6859200"/>
              <a:gd name="connsiteX60" fmla="*/ 6630631 w 9144001"/>
              <a:gd name="connsiteY60" fmla="*/ 628696 h 6859200"/>
              <a:gd name="connsiteX61" fmla="*/ 6663801 w 9144001"/>
              <a:gd name="connsiteY61" fmla="*/ 657368 h 6859200"/>
              <a:gd name="connsiteX62" fmla="*/ 6730143 w 9144001"/>
              <a:gd name="connsiteY62" fmla="*/ 657368 h 6859200"/>
              <a:gd name="connsiteX63" fmla="*/ 6721851 w 9144001"/>
              <a:gd name="connsiteY63" fmla="*/ 636888 h 6859200"/>
              <a:gd name="connsiteX64" fmla="*/ 6643069 w 9144001"/>
              <a:gd name="connsiteY64" fmla="*/ 387040 h 6859200"/>
              <a:gd name="connsiteX65" fmla="*/ 6580875 w 9144001"/>
              <a:gd name="connsiteY65" fmla="*/ 341985 h 6859200"/>
              <a:gd name="connsiteX66" fmla="*/ 6539411 w 9144001"/>
              <a:gd name="connsiteY66" fmla="*/ 341985 h 6859200"/>
              <a:gd name="connsiteX67" fmla="*/ 7557759 w 9144001"/>
              <a:gd name="connsiteY67" fmla="*/ 341984 h 6859200"/>
              <a:gd name="connsiteX68" fmla="*/ 7557759 w 9144001"/>
              <a:gd name="connsiteY68" fmla="*/ 657367 h 6859200"/>
              <a:gd name="connsiteX69" fmla="*/ 7611945 w 9144001"/>
              <a:gd name="connsiteY69" fmla="*/ 657367 h 6859200"/>
              <a:gd name="connsiteX70" fmla="*/ 7611945 w 9144001"/>
              <a:gd name="connsiteY70" fmla="*/ 460765 h 6859200"/>
              <a:gd name="connsiteX71" fmla="*/ 7741160 w 9144001"/>
              <a:gd name="connsiteY71" fmla="*/ 616408 h 6859200"/>
              <a:gd name="connsiteX72" fmla="*/ 7791179 w 9144001"/>
              <a:gd name="connsiteY72" fmla="*/ 657367 h 6859200"/>
              <a:gd name="connsiteX73" fmla="*/ 7828692 w 9144001"/>
              <a:gd name="connsiteY73" fmla="*/ 657367 h 6859200"/>
              <a:gd name="connsiteX74" fmla="*/ 7828692 w 9144001"/>
              <a:gd name="connsiteY74" fmla="*/ 370656 h 6859200"/>
              <a:gd name="connsiteX75" fmla="*/ 7799515 w 9144001"/>
              <a:gd name="connsiteY75" fmla="*/ 341984 h 6859200"/>
              <a:gd name="connsiteX76" fmla="*/ 7774505 w 9144001"/>
              <a:gd name="connsiteY76" fmla="*/ 341984 h 6859200"/>
              <a:gd name="connsiteX77" fmla="*/ 7774505 w 9144001"/>
              <a:gd name="connsiteY77" fmla="*/ 534491 h 6859200"/>
              <a:gd name="connsiteX78" fmla="*/ 7653628 w 9144001"/>
              <a:gd name="connsiteY78" fmla="*/ 378848 h 6859200"/>
              <a:gd name="connsiteX79" fmla="*/ 7595273 w 9144001"/>
              <a:gd name="connsiteY79" fmla="*/ 341984 h 6859200"/>
              <a:gd name="connsiteX80" fmla="*/ 7557759 w 9144001"/>
              <a:gd name="connsiteY80" fmla="*/ 341984 h 6859200"/>
              <a:gd name="connsiteX81" fmla="*/ 8719809 w 9144001"/>
              <a:gd name="connsiteY81" fmla="*/ 316584 h 6859200"/>
              <a:gd name="connsiteX82" fmla="*/ 8719809 w 9144001"/>
              <a:gd name="connsiteY82" fmla="*/ 657367 h 6859200"/>
              <a:gd name="connsiteX83" fmla="*/ 8793893 w 9144001"/>
              <a:gd name="connsiteY83" fmla="*/ 657367 h 6859200"/>
              <a:gd name="connsiteX84" fmla="*/ 8793893 w 9144001"/>
              <a:gd name="connsiteY84" fmla="*/ 365854 h 6859200"/>
              <a:gd name="connsiteX85" fmla="*/ 8748620 w 9144001"/>
              <a:gd name="connsiteY85" fmla="*/ 316584 h 6859200"/>
              <a:gd name="connsiteX86" fmla="*/ 8719809 w 9144001"/>
              <a:gd name="connsiteY86" fmla="*/ 316584 h 6859200"/>
              <a:gd name="connsiteX87" fmla="*/ 8156776 w 9144001"/>
              <a:gd name="connsiteY87" fmla="*/ 316584 h 6859200"/>
              <a:gd name="connsiteX88" fmla="*/ 8156776 w 9144001"/>
              <a:gd name="connsiteY88" fmla="*/ 657367 h 6859200"/>
              <a:gd name="connsiteX89" fmla="*/ 8260875 w 9144001"/>
              <a:gd name="connsiteY89" fmla="*/ 657367 h 6859200"/>
              <a:gd name="connsiteX90" fmla="*/ 8410776 w 9144001"/>
              <a:gd name="connsiteY90" fmla="*/ 517769 h 6859200"/>
              <a:gd name="connsiteX91" fmla="*/ 8310841 w 9144001"/>
              <a:gd name="connsiteY91" fmla="*/ 411017 h 6859200"/>
              <a:gd name="connsiteX92" fmla="*/ 8244219 w 9144001"/>
              <a:gd name="connsiteY92" fmla="*/ 435654 h 6859200"/>
              <a:gd name="connsiteX93" fmla="*/ 8244219 w 9144001"/>
              <a:gd name="connsiteY93" fmla="*/ 365855 h 6859200"/>
              <a:gd name="connsiteX94" fmla="*/ 8190088 w 9144001"/>
              <a:gd name="connsiteY94" fmla="*/ 316584 h 6859200"/>
              <a:gd name="connsiteX95" fmla="*/ 8156776 w 9144001"/>
              <a:gd name="connsiteY95" fmla="*/ 316584 h 6859200"/>
              <a:gd name="connsiteX96" fmla="*/ 6759776 w 9144001"/>
              <a:gd name="connsiteY96" fmla="*/ 316584 h 6859200"/>
              <a:gd name="connsiteX97" fmla="*/ 6759776 w 9144001"/>
              <a:gd name="connsiteY97" fmla="*/ 657367 h 6859200"/>
              <a:gd name="connsiteX98" fmla="*/ 6846560 w 9144001"/>
              <a:gd name="connsiteY98" fmla="*/ 657367 h 6859200"/>
              <a:gd name="connsiteX99" fmla="*/ 6846560 w 9144001"/>
              <a:gd name="connsiteY99" fmla="*/ 561146 h 6859200"/>
              <a:gd name="connsiteX100" fmla="*/ 6846560 w 9144001"/>
              <a:gd name="connsiteY100" fmla="*/ 526344 h 6859200"/>
              <a:gd name="connsiteX101" fmla="*/ 6875561 w 9144001"/>
              <a:gd name="connsiteY101" fmla="*/ 578420 h 6859200"/>
              <a:gd name="connsiteX102" fmla="*/ 6896724 w 9144001"/>
              <a:gd name="connsiteY102" fmla="*/ 616423 h 6859200"/>
              <a:gd name="connsiteX103" fmla="*/ 6942709 w 9144001"/>
              <a:gd name="connsiteY103" fmla="*/ 657368 h 6859200"/>
              <a:gd name="connsiteX104" fmla="*/ 7013776 w 9144001"/>
              <a:gd name="connsiteY104" fmla="*/ 657368 h 6859200"/>
              <a:gd name="connsiteX105" fmla="*/ 6997055 w 9144001"/>
              <a:gd name="connsiteY105" fmla="*/ 636895 h 6859200"/>
              <a:gd name="connsiteX106" fmla="*/ 6930168 w 9144001"/>
              <a:gd name="connsiteY106" fmla="*/ 505869 h 6859200"/>
              <a:gd name="connsiteX107" fmla="*/ 7009596 w 9144001"/>
              <a:gd name="connsiteY107" fmla="*/ 407601 h 6859200"/>
              <a:gd name="connsiteX108" fmla="*/ 6938528 w 9144001"/>
              <a:gd name="connsiteY108" fmla="*/ 407601 h 6859200"/>
              <a:gd name="connsiteX109" fmla="*/ 6847996 w 9144001"/>
              <a:gd name="connsiteY109" fmla="*/ 524487 h 6859200"/>
              <a:gd name="connsiteX110" fmla="*/ 6846560 w 9144001"/>
              <a:gd name="connsiteY110" fmla="*/ 526340 h 6859200"/>
              <a:gd name="connsiteX111" fmla="*/ 6846560 w 9144001"/>
              <a:gd name="connsiteY111" fmla="*/ 488836 h 6859200"/>
              <a:gd name="connsiteX112" fmla="*/ 6846560 w 9144001"/>
              <a:gd name="connsiteY112" fmla="*/ 365855 h 6859200"/>
              <a:gd name="connsiteX113" fmla="*/ 6788704 w 9144001"/>
              <a:gd name="connsiteY113" fmla="*/ 316584 h 6859200"/>
              <a:gd name="connsiteX114" fmla="*/ 6759776 w 9144001"/>
              <a:gd name="connsiteY114" fmla="*/ 316584 h 6859200"/>
              <a:gd name="connsiteX115" fmla="*/ 8978979 w 9144001"/>
              <a:gd name="connsiteY115" fmla="*/ 0 h 6859200"/>
              <a:gd name="connsiteX116" fmla="*/ 9144001 w 9144001"/>
              <a:gd name="connsiteY116" fmla="*/ 0 h 6859200"/>
              <a:gd name="connsiteX117" fmla="*/ 9144001 w 9144001"/>
              <a:gd name="connsiteY117" fmla="*/ 6859200 h 6859200"/>
              <a:gd name="connsiteX118" fmla="*/ 9105340 w 9144001"/>
              <a:gd name="connsiteY118" fmla="*/ 6859200 h 6859200"/>
              <a:gd name="connsiteX119" fmla="*/ 9081757 w 9144001"/>
              <a:gd name="connsiteY119" fmla="*/ 6859200 h 6859200"/>
              <a:gd name="connsiteX120" fmla="*/ 8978979 w 9144001"/>
              <a:gd name="connsiteY120" fmla="*/ 6859200 h 6859200"/>
              <a:gd name="connsiteX121" fmla="*/ 8873128 w 9144001"/>
              <a:gd name="connsiteY121" fmla="*/ 6859200 h 6859200"/>
              <a:gd name="connsiteX122" fmla="*/ 0 w 9144001"/>
              <a:gd name="connsiteY122" fmla="*/ 6859200 h 6859200"/>
              <a:gd name="connsiteX123" fmla="*/ 0 w 9144001"/>
              <a:gd name="connsiteY123" fmla="*/ 1203 h 6859200"/>
              <a:gd name="connsiteX124" fmla="*/ 8873128 w 9144001"/>
              <a:gd name="connsiteY124" fmla="*/ 1203 h 6859200"/>
              <a:gd name="connsiteX125" fmla="*/ 8873128 w 9144001"/>
              <a:gd name="connsiteY125" fmla="*/ 1200 h 6859200"/>
              <a:gd name="connsiteX126" fmla="*/ 8978979 w 9144001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4001" h="6859200">
                <a:moveTo>
                  <a:pt x="8266284" y="460518"/>
                </a:moveTo>
                <a:cubicBezTo>
                  <a:pt x="8295139" y="460518"/>
                  <a:pt x="8323992" y="489391"/>
                  <a:pt x="8323992" y="530639"/>
                </a:cubicBezTo>
                <a:cubicBezTo>
                  <a:pt x="8323992" y="588386"/>
                  <a:pt x="8299260" y="621384"/>
                  <a:pt x="8258040" y="621384"/>
                </a:cubicBezTo>
                <a:cubicBezTo>
                  <a:pt x="8245675" y="621384"/>
                  <a:pt x="8245675" y="621384"/>
                  <a:pt x="8245675" y="621384"/>
                </a:cubicBezTo>
                <a:cubicBezTo>
                  <a:pt x="8245675" y="464643"/>
                  <a:pt x="8245675" y="464643"/>
                  <a:pt x="8245675" y="464643"/>
                </a:cubicBezTo>
                <a:cubicBezTo>
                  <a:pt x="8249796" y="460518"/>
                  <a:pt x="8253919" y="460518"/>
                  <a:pt x="8266284" y="460518"/>
                </a:cubicBezTo>
                <a:close/>
                <a:moveTo>
                  <a:pt x="7994795" y="452051"/>
                </a:moveTo>
                <a:cubicBezTo>
                  <a:pt x="8019527" y="452051"/>
                  <a:pt x="8031892" y="489199"/>
                  <a:pt x="8031892" y="538728"/>
                </a:cubicBezTo>
                <a:cubicBezTo>
                  <a:pt x="8031892" y="588259"/>
                  <a:pt x="8019527" y="617151"/>
                  <a:pt x="7994795" y="617151"/>
                </a:cubicBezTo>
                <a:cubicBezTo>
                  <a:pt x="7965941" y="617151"/>
                  <a:pt x="7953575" y="584131"/>
                  <a:pt x="7953575" y="534601"/>
                </a:cubicBezTo>
                <a:cubicBezTo>
                  <a:pt x="7953575" y="485071"/>
                  <a:pt x="7965941" y="452051"/>
                  <a:pt x="7994795" y="452051"/>
                </a:cubicBezTo>
                <a:close/>
                <a:moveTo>
                  <a:pt x="7388424" y="452051"/>
                </a:moveTo>
                <a:cubicBezTo>
                  <a:pt x="7418057" y="452051"/>
                  <a:pt x="7426524" y="489199"/>
                  <a:pt x="7426524" y="538728"/>
                </a:cubicBezTo>
                <a:cubicBezTo>
                  <a:pt x="7426524" y="588259"/>
                  <a:pt x="7418057" y="617151"/>
                  <a:pt x="7388424" y="617151"/>
                </a:cubicBezTo>
                <a:cubicBezTo>
                  <a:pt x="7358791" y="617151"/>
                  <a:pt x="7350324" y="584131"/>
                  <a:pt x="7350324" y="534601"/>
                </a:cubicBezTo>
                <a:cubicBezTo>
                  <a:pt x="7350324" y="485071"/>
                  <a:pt x="7358791" y="452051"/>
                  <a:pt x="7388424" y="452051"/>
                </a:cubicBezTo>
                <a:close/>
                <a:moveTo>
                  <a:pt x="8561057" y="447817"/>
                </a:moveTo>
                <a:cubicBezTo>
                  <a:pt x="8594924" y="447817"/>
                  <a:pt x="8603391" y="504967"/>
                  <a:pt x="8603391" y="504967"/>
                </a:cubicBezTo>
                <a:cubicBezTo>
                  <a:pt x="8522957" y="504967"/>
                  <a:pt x="8522957" y="504967"/>
                  <a:pt x="8522957" y="504967"/>
                </a:cubicBezTo>
                <a:cubicBezTo>
                  <a:pt x="8522957" y="472311"/>
                  <a:pt x="8535657" y="447817"/>
                  <a:pt x="8561057" y="447817"/>
                </a:cubicBezTo>
                <a:close/>
                <a:moveTo>
                  <a:pt x="6563877" y="411834"/>
                </a:moveTo>
                <a:cubicBezTo>
                  <a:pt x="6601025" y="547300"/>
                  <a:pt x="6601025" y="547300"/>
                  <a:pt x="6601025" y="547300"/>
                </a:cubicBezTo>
                <a:cubicBezTo>
                  <a:pt x="6518475" y="547300"/>
                  <a:pt x="6518475" y="547300"/>
                  <a:pt x="6518475" y="547300"/>
                </a:cubicBezTo>
                <a:cubicBezTo>
                  <a:pt x="6563877" y="411834"/>
                  <a:pt x="6563877" y="411834"/>
                  <a:pt x="6563877" y="411834"/>
                </a:cubicBezTo>
                <a:close/>
                <a:moveTo>
                  <a:pt x="7030628" y="407601"/>
                </a:moveTo>
                <a:cubicBezTo>
                  <a:pt x="7030628" y="448547"/>
                  <a:pt x="7030628" y="448547"/>
                  <a:pt x="7030628" y="448547"/>
                </a:cubicBezTo>
                <a:cubicBezTo>
                  <a:pt x="7121971" y="448547"/>
                  <a:pt x="7121971" y="448547"/>
                  <a:pt x="7121971" y="448547"/>
                </a:cubicBezTo>
                <a:cubicBezTo>
                  <a:pt x="7034780" y="620517"/>
                  <a:pt x="7034780" y="620517"/>
                  <a:pt x="7034780" y="620517"/>
                </a:cubicBezTo>
                <a:cubicBezTo>
                  <a:pt x="7026476" y="636895"/>
                  <a:pt x="7026476" y="649179"/>
                  <a:pt x="7030628" y="657368"/>
                </a:cubicBezTo>
                <a:cubicBezTo>
                  <a:pt x="7213313" y="657368"/>
                  <a:pt x="7213313" y="657368"/>
                  <a:pt x="7213313" y="657368"/>
                </a:cubicBezTo>
                <a:cubicBezTo>
                  <a:pt x="7229920" y="657368"/>
                  <a:pt x="7242376" y="645084"/>
                  <a:pt x="7242376" y="628705"/>
                </a:cubicBezTo>
                <a:cubicBezTo>
                  <a:pt x="7242376" y="612328"/>
                  <a:pt x="7242376" y="612328"/>
                  <a:pt x="7242376" y="612328"/>
                </a:cubicBezTo>
                <a:cubicBezTo>
                  <a:pt x="7234072" y="616423"/>
                  <a:pt x="7221617" y="616423"/>
                  <a:pt x="7192553" y="616423"/>
                </a:cubicBezTo>
                <a:cubicBezTo>
                  <a:pt x="7134427" y="616423"/>
                  <a:pt x="7134427" y="616423"/>
                  <a:pt x="7134427" y="616423"/>
                </a:cubicBezTo>
                <a:cubicBezTo>
                  <a:pt x="7238224" y="407601"/>
                  <a:pt x="7238224" y="407601"/>
                  <a:pt x="7238224" y="407601"/>
                </a:cubicBezTo>
                <a:cubicBezTo>
                  <a:pt x="7030628" y="407601"/>
                  <a:pt x="7030628" y="407601"/>
                  <a:pt x="7030628" y="407601"/>
                </a:cubicBezTo>
                <a:close/>
                <a:moveTo>
                  <a:pt x="8565147" y="407600"/>
                </a:moveTo>
                <a:cubicBezTo>
                  <a:pt x="8490260" y="407600"/>
                  <a:pt x="8436176" y="456735"/>
                  <a:pt x="8436176" y="530436"/>
                </a:cubicBezTo>
                <a:cubicBezTo>
                  <a:pt x="8436176" y="604137"/>
                  <a:pt x="8486100" y="657367"/>
                  <a:pt x="8560987" y="657367"/>
                </a:cubicBezTo>
                <a:cubicBezTo>
                  <a:pt x="8635872" y="657367"/>
                  <a:pt x="8664995" y="616422"/>
                  <a:pt x="8664995" y="579571"/>
                </a:cubicBezTo>
                <a:cubicBezTo>
                  <a:pt x="8648353" y="591855"/>
                  <a:pt x="8623392" y="600044"/>
                  <a:pt x="8594269" y="600044"/>
                </a:cubicBezTo>
                <a:cubicBezTo>
                  <a:pt x="8552665" y="600044"/>
                  <a:pt x="8523543" y="575476"/>
                  <a:pt x="8523543" y="538626"/>
                </a:cubicBezTo>
                <a:cubicBezTo>
                  <a:pt x="8677476" y="538626"/>
                  <a:pt x="8677476" y="538626"/>
                  <a:pt x="8677476" y="538626"/>
                </a:cubicBezTo>
                <a:cubicBezTo>
                  <a:pt x="8677476" y="526341"/>
                  <a:pt x="8677476" y="518154"/>
                  <a:pt x="8677476" y="509964"/>
                </a:cubicBezTo>
                <a:cubicBezTo>
                  <a:pt x="8677476" y="452640"/>
                  <a:pt x="8635872" y="407600"/>
                  <a:pt x="8565147" y="407600"/>
                </a:cubicBezTo>
                <a:close/>
                <a:moveTo>
                  <a:pt x="7995875" y="407600"/>
                </a:moveTo>
                <a:cubicBezTo>
                  <a:pt x="7920924" y="407600"/>
                  <a:pt x="7866792" y="456735"/>
                  <a:pt x="7866792" y="538626"/>
                </a:cubicBezTo>
                <a:cubicBezTo>
                  <a:pt x="7866792" y="608232"/>
                  <a:pt x="7920924" y="657367"/>
                  <a:pt x="7991711" y="657367"/>
                </a:cubicBezTo>
                <a:cubicBezTo>
                  <a:pt x="8062497" y="657367"/>
                  <a:pt x="8120792" y="608232"/>
                  <a:pt x="8120792" y="526341"/>
                </a:cubicBezTo>
                <a:cubicBezTo>
                  <a:pt x="8120792" y="456735"/>
                  <a:pt x="8066661" y="407600"/>
                  <a:pt x="7995875" y="407600"/>
                </a:cubicBezTo>
                <a:close/>
                <a:moveTo>
                  <a:pt x="7388427" y="407600"/>
                </a:moveTo>
                <a:cubicBezTo>
                  <a:pt x="7317584" y="407600"/>
                  <a:pt x="7255076" y="456735"/>
                  <a:pt x="7255076" y="538626"/>
                </a:cubicBezTo>
                <a:cubicBezTo>
                  <a:pt x="7255076" y="608234"/>
                  <a:pt x="7317584" y="657367"/>
                  <a:pt x="7388427" y="657367"/>
                </a:cubicBezTo>
                <a:cubicBezTo>
                  <a:pt x="7459268" y="657367"/>
                  <a:pt x="7521776" y="608234"/>
                  <a:pt x="7521776" y="526343"/>
                </a:cubicBezTo>
                <a:cubicBezTo>
                  <a:pt x="7521776" y="456735"/>
                  <a:pt x="7463436" y="407600"/>
                  <a:pt x="7388427" y="407600"/>
                </a:cubicBezTo>
                <a:close/>
                <a:moveTo>
                  <a:pt x="6539411" y="341985"/>
                </a:moveTo>
                <a:cubicBezTo>
                  <a:pt x="6427459" y="657368"/>
                  <a:pt x="6427459" y="657368"/>
                  <a:pt x="6427459" y="657368"/>
                </a:cubicBezTo>
                <a:cubicBezTo>
                  <a:pt x="6477215" y="657368"/>
                  <a:pt x="6477215" y="657368"/>
                  <a:pt x="6477215" y="657368"/>
                </a:cubicBezTo>
                <a:cubicBezTo>
                  <a:pt x="6506240" y="579546"/>
                  <a:pt x="6506240" y="579546"/>
                  <a:pt x="6506240" y="579546"/>
                </a:cubicBezTo>
                <a:cubicBezTo>
                  <a:pt x="6614045" y="579546"/>
                  <a:pt x="6614045" y="579546"/>
                  <a:pt x="6614045" y="579546"/>
                </a:cubicBezTo>
                <a:cubicBezTo>
                  <a:pt x="6630631" y="628696"/>
                  <a:pt x="6630631" y="628696"/>
                  <a:pt x="6630631" y="628696"/>
                </a:cubicBezTo>
                <a:cubicBezTo>
                  <a:pt x="6638923" y="649176"/>
                  <a:pt x="6643069" y="657368"/>
                  <a:pt x="6663801" y="657368"/>
                </a:cubicBezTo>
                <a:cubicBezTo>
                  <a:pt x="6730143" y="657368"/>
                  <a:pt x="6730143" y="657368"/>
                  <a:pt x="6730143" y="657368"/>
                </a:cubicBezTo>
                <a:cubicBezTo>
                  <a:pt x="6730143" y="653272"/>
                  <a:pt x="6725996" y="649176"/>
                  <a:pt x="6721851" y="636888"/>
                </a:cubicBezTo>
                <a:cubicBezTo>
                  <a:pt x="6643069" y="387040"/>
                  <a:pt x="6643069" y="387040"/>
                  <a:pt x="6643069" y="387040"/>
                </a:cubicBezTo>
                <a:cubicBezTo>
                  <a:pt x="6630631" y="358368"/>
                  <a:pt x="6618192" y="341985"/>
                  <a:pt x="6580875" y="341985"/>
                </a:cubicBezTo>
                <a:cubicBezTo>
                  <a:pt x="6539411" y="341985"/>
                  <a:pt x="6539411" y="341985"/>
                  <a:pt x="6539411" y="341985"/>
                </a:cubicBezTo>
                <a:close/>
                <a:moveTo>
                  <a:pt x="7557759" y="341984"/>
                </a:moveTo>
                <a:cubicBezTo>
                  <a:pt x="7557759" y="657367"/>
                  <a:pt x="7557759" y="657367"/>
                  <a:pt x="7557759" y="657367"/>
                </a:cubicBezTo>
                <a:cubicBezTo>
                  <a:pt x="7611945" y="657367"/>
                  <a:pt x="7611945" y="657367"/>
                  <a:pt x="7611945" y="657367"/>
                </a:cubicBezTo>
                <a:cubicBezTo>
                  <a:pt x="7611945" y="460765"/>
                  <a:pt x="7611945" y="460765"/>
                  <a:pt x="7611945" y="460765"/>
                </a:cubicBezTo>
                <a:cubicBezTo>
                  <a:pt x="7741160" y="616408"/>
                  <a:pt x="7741160" y="616408"/>
                  <a:pt x="7741160" y="616408"/>
                </a:cubicBezTo>
                <a:cubicBezTo>
                  <a:pt x="7757833" y="640984"/>
                  <a:pt x="7770337" y="657367"/>
                  <a:pt x="7791179" y="657367"/>
                </a:cubicBezTo>
                <a:cubicBezTo>
                  <a:pt x="7828692" y="657367"/>
                  <a:pt x="7828692" y="657367"/>
                  <a:pt x="7828692" y="657367"/>
                </a:cubicBezTo>
                <a:cubicBezTo>
                  <a:pt x="7828692" y="370656"/>
                  <a:pt x="7828692" y="370656"/>
                  <a:pt x="7828692" y="370656"/>
                </a:cubicBezTo>
                <a:cubicBezTo>
                  <a:pt x="7828692" y="354272"/>
                  <a:pt x="7816188" y="341984"/>
                  <a:pt x="7799515" y="341984"/>
                </a:cubicBezTo>
                <a:cubicBezTo>
                  <a:pt x="7774505" y="341984"/>
                  <a:pt x="7774505" y="341984"/>
                  <a:pt x="7774505" y="341984"/>
                </a:cubicBezTo>
                <a:cubicBezTo>
                  <a:pt x="7774505" y="534491"/>
                  <a:pt x="7774505" y="534491"/>
                  <a:pt x="7774505" y="534491"/>
                </a:cubicBezTo>
                <a:cubicBezTo>
                  <a:pt x="7653628" y="378848"/>
                  <a:pt x="7653628" y="378848"/>
                  <a:pt x="7653628" y="378848"/>
                </a:cubicBezTo>
                <a:cubicBezTo>
                  <a:pt x="7632787" y="358368"/>
                  <a:pt x="7624451" y="341984"/>
                  <a:pt x="7595273" y="341984"/>
                </a:cubicBezTo>
                <a:cubicBezTo>
                  <a:pt x="7557759" y="341984"/>
                  <a:pt x="7557759" y="341984"/>
                  <a:pt x="7557759" y="341984"/>
                </a:cubicBezTo>
                <a:close/>
                <a:moveTo>
                  <a:pt x="8719809" y="316584"/>
                </a:moveTo>
                <a:cubicBezTo>
                  <a:pt x="8719809" y="657367"/>
                  <a:pt x="8719809" y="657367"/>
                  <a:pt x="8719809" y="657367"/>
                </a:cubicBezTo>
                <a:cubicBezTo>
                  <a:pt x="8793893" y="657367"/>
                  <a:pt x="8793893" y="657367"/>
                  <a:pt x="8793893" y="657367"/>
                </a:cubicBezTo>
                <a:cubicBezTo>
                  <a:pt x="8793893" y="365854"/>
                  <a:pt x="8793893" y="365854"/>
                  <a:pt x="8793893" y="365854"/>
                </a:cubicBezTo>
                <a:cubicBezTo>
                  <a:pt x="8793893" y="337114"/>
                  <a:pt x="8773315" y="316584"/>
                  <a:pt x="8748620" y="316584"/>
                </a:cubicBezTo>
                <a:cubicBezTo>
                  <a:pt x="8719809" y="316584"/>
                  <a:pt x="8719809" y="316584"/>
                  <a:pt x="8719809" y="316584"/>
                </a:cubicBezTo>
                <a:close/>
                <a:moveTo>
                  <a:pt x="8156776" y="316584"/>
                </a:moveTo>
                <a:cubicBezTo>
                  <a:pt x="8156776" y="657367"/>
                  <a:pt x="8156776" y="657367"/>
                  <a:pt x="8156776" y="657367"/>
                </a:cubicBezTo>
                <a:cubicBezTo>
                  <a:pt x="8260875" y="657367"/>
                  <a:pt x="8260875" y="657367"/>
                  <a:pt x="8260875" y="657367"/>
                </a:cubicBezTo>
                <a:cubicBezTo>
                  <a:pt x="8356645" y="657367"/>
                  <a:pt x="8410776" y="608098"/>
                  <a:pt x="8410776" y="517769"/>
                </a:cubicBezTo>
                <a:cubicBezTo>
                  <a:pt x="8410776" y="456181"/>
                  <a:pt x="8369136" y="411017"/>
                  <a:pt x="8310841" y="411017"/>
                </a:cubicBezTo>
                <a:cubicBezTo>
                  <a:pt x="8281695" y="411017"/>
                  <a:pt x="8256711" y="423336"/>
                  <a:pt x="8244219" y="435654"/>
                </a:cubicBezTo>
                <a:cubicBezTo>
                  <a:pt x="8244219" y="365855"/>
                  <a:pt x="8244219" y="365855"/>
                  <a:pt x="8244219" y="365855"/>
                </a:cubicBezTo>
                <a:cubicBezTo>
                  <a:pt x="8244219" y="337114"/>
                  <a:pt x="8219235" y="316584"/>
                  <a:pt x="8190088" y="316584"/>
                </a:cubicBezTo>
                <a:cubicBezTo>
                  <a:pt x="8156776" y="316584"/>
                  <a:pt x="8156776" y="316584"/>
                  <a:pt x="8156776" y="316584"/>
                </a:cubicBezTo>
                <a:close/>
                <a:moveTo>
                  <a:pt x="6759776" y="316584"/>
                </a:moveTo>
                <a:cubicBezTo>
                  <a:pt x="6759776" y="657367"/>
                  <a:pt x="6759776" y="657367"/>
                  <a:pt x="6759776" y="657367"/>
                </a:cubicBezTo>
                <a:cubicBezTo>
                  <a:pt x="6846560" y="657367"/>
                  <a:pt x="6846560" y="657367"/>
                  <a:pt x="6846560" y="657367"/>
                </a:cubicBezTo>
                <a:cubicBezTo>
                  <a:pt x="6846560" y="620928"/>
                  <a:pt x="6846560" y="589044"/>
                  <a:pt x="6846560" y="561146"/>
                </a:cubicBezTo>
                <a:lnTo>
                  <a:pt x="6846560" y="526344"/>
                </a:lnTo>
                <a:lnTo>
                  <a:pt x="6875561" y="578420"/>
                </a:lnTo>
                <a:cubicBezTo>
                  <a:pt x="6896724" y="616423"/>
                  <a:pt x="6896724" y="616423"/>
                  <a:pt x="6896724" y="616423"/>
                </a:cubicBezTo>
                <a:cubicBezTo>
                  <a:pt x="6909265" y="645084"/>
                  <a:pt x="6913445" y="657368"/>
                  <a:pt x="6942709" y="657368"/>
                </a:cubicBezTo>
                <a:cubicBezTo>
                  <a:pt x="7013776" y="657368"/>
                  <a:pt x="7013776" y="657368"/>
                  <a:pt x="7013776" y="657368"/>
                </a:cubicBezTo>
                <a:cubicBezTo>
                  <a:pt x="7009596" y="653274"/>
                  <a:pt x="7005416" y="649179"/>
                  <a:pt x="6997055" y="636895"/>
                </a:cubicBezTo>
                <a:cubicBezTo>
                  <a:pt x="6930168" y="505869"/>
                  <a:pt x="6930168" y="505869"/>
                  <a:pt x="6930168" y="505869"/>
                </a:cubicBezTo>
                <a:cubicBezTo>
                  <a:pt x="7009596" y="407601"/>
                  <a:pt x="7009596" y="407601"/>
                  <a:pt x="7009596" y="407601"/>
                </a:cubicBezTo>
                <a:cubicBezTo>
                  <a:pt x="6938528" y="407601"/>
                  <a:pt x="6938528" y="407601"/>
                  <a:pt x="6938528" y="407601"/>
                </a:cubicBezTo>
                <a:cubicBezTo>
                  <a:pt x="6869552" y="496658"/>
                  <a:pt x="6852307" y="518921"/>
                  <a:pt x="6847996" y="524487"/>
                </a:cubicBezTo>
                <a:lnTo>
                  <a:pt x="6846560" y="526340"/>
                </a:lnTo>
                <a:lnTo>
                  <a:pt x="6846560" y="488836"/>
                </a:lnTo>
                <a:cubicBezTo>
                  <a:pt x="6846560" y="365855"/>
                  <a:pt x="6846560" y="365855"/>
                  <a:pt x="6846560" y="365855"/>
                </a:cubicBezTo>
                <a:cubicBezTo>
                  <a:pt x="6846560" y="337114"/>
                  <a:pt x="6821765" y="316584"/>
                  <a:pt x="6788704" y="316584"/>
                </a:cubicBezTo>
                <a:cubicBezTo>
                  <a:pt x="6759776" y="316584"/>
                  <a:pt x="6759776" y="316584"/>
                  <a:pt x="6759776" y="316584"/>
                </a:cubicBezTo>
                <a:close/>
                <a:moveTo>
                  <a:pt x="8978979" y="0"/>
                </a:moveTo>
                <a:lnTo>
                  <a:pt x="9144001" y="0"/>
                </a:lnTo>
                <a:lnTo>
                  <a:pt x="9144001" y="6859200"/>
                </a:lnTo>
                <a:lnTo>
                  <a:pt x="9105340" y="6859200"/>
                </a:lnTo>
                <a:lnTo>
                  <a:pt x="9081757" y="6859200"/>
                </a:lnTo>
                <a:lnTo>
                  <a:pt x="8978979" y="6859200"/>
                </a:lnTo>
                <a:lnTo>
                  <a:pt x="8873128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8" y="1203"/>
                </a:lnTo>
                <a:lnTo>
                  <a:pt x="8873128" y="1200"/>
                </a:lnTo>
                <a:lnTo>
                  <a:pt x="8978979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it-IT" noProof="0"/>
              <a:t>Fare clic sull'icona per inserire un'immagine</a:t>
            </a:r>
            <a:endParaRPr lang="en-US" noProof="0" dirty="0"/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0" y="-221258"/>
            <a:ext cx="36000" cy="36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itle 1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428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it-IT"/>
              <a:t>Fare clic per modificare lo stile del titolo dello schema</a:t>
            </a:r>
            <a:endParaRPr lang="nl-NL" dirty="0"/>
          </a:p>
        </p:txBody>
      </p:sp>
      <p:grpSp>
        <p:nvGrpSpPr>
          <p:cNvPr id="32" name="Group 31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34" name="Rectangle 3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5" name="Rectangle 44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1" name="Rectangle 5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52" name="Rectangle 5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53" name="Straight Arrow Connector 5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6" idx="0"/>
              <a:endCxn id="46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>
              <a:stCxn id="46" idx="3"/>
              <a:endCxn id="46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Arrow Connector 67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Oval 68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9619558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 bwMode="gray">
          <a:xfrm>
            <a:off x="352424" y="1298829"/>
            <a:ext cx="6292101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 bwMode="gray">
          <a:xfrm>
            <a:off x="6793575" y="1298832"/>
            <a:ext cx="2350426" cy="4703999"/>
          </a:xfrm>
          <a:noFill/>
        </p:spPr>
        <p:txBody>
          <a:bodyPr/>
          <a:lstStyle>
            <a:lvl1pPr>
              <a:defRPr sz="1600" b="0"/>
            </a:lvl1pPr>
          </a:lstStyle>
          <a:p>
            <a:r>
              <a:rPr lang="it-IT"/>
              <a:t>Fare clic sull'icona per inserire un'immagine</a:t>
            </a:r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30030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 bwMode="gray">
          <a:xfrm>
            <a:off x="1" y="1298829"/>
            <a:ext cx="6644525" cy="4704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it-IT"/>
              <a:t>Fare clic sull'icona per inserire un'immagine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 bwMode="gray">
          <a:xfrm>
            <a:off x="6793575" y="1298829"/>
            <a:ext cx="1998000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8645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81520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B47B123-2848-4777-A88A-7DA1B98F85A7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2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Picture Placeholder 56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it-IT" noProof="0"/>
              <a:t>Fare clic sull'icona per inserire un'immagine</a:t>
            </a:r>
            <a:endParaRPr lang="en-US" noProof="0" dirty="0"/>
          </a:p>
        </p:txBody>
      </p:sp>
      <p:grpSp>
        <p:nvGrpSpPr>
          <p:cNvPr id="45" name="Group 44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53" name="Rectangle 52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61" name="Rectangle 6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62" name="Rectangle 6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63" name="Straight Arrow Connector 6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stCxn id="55" idx="0"/>
              <a:endCxn id="55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55" idx="3"/>
              <a:endCxn id="55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Oval 6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650178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Image with AkzoNobel logo blue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AF9618A7-8444-42A2-AE52-D31AC2EEB38A}"/>
              </a:ext>
            </a:extLst>
          </p:cNvPr>
          <p:cNvGrpSpPr/>
          <p:nvPr userDrawn="1"/>
        </p:nvGrpSpPr>
        <p:grpSpPr>
          <a:xfrm>
            <a:off x="0" y="0"/>
            <a:ext cx="9144001" cy="6858000"/>
            <a:chOff x="-1" y="0"/>
            <a:chExt cx="9144001" cy="6858000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2154A7C-4248-4AA6-975B-3B8088B3A41D}"/>
                </a:ext>
              </a:extLst>
            </p:cNvPr>
            <p:cNvSpPr/>
            <p:nvPr userDrawn="1"/>
          </p:nvSpPr>
          <p:spPr>
            <a:xfrm>
              <a:off x="8801100" y="0"/>
              <a:ext cx="342900" cy="68580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5B478420-65FF-46C9-9AE5-E206BFA3EE19}"/>
                </a:ext>
              </a:extLst>
            </p:cNvPr>
            <p:cNvSpPr/>
            <p:nvPr userDrawn="1"/>
          </p:nvSpPr>
          <p:spPr>
            <a:xfrm>
              <a:off x="-1" y="0"/>
              <a:ext cx="6411481" cy="68580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9F834A6-1021-4DED-9CD2-BB428BA4FD91}"/>
                </a:ext>
              </a:extLst>
            </p:cNvPr>
            <p:cNvSpPr/>
            <p:nvPr userDrawn="1"/>
          </p:nvSpPr>
          <p:spPr>
            <a:xfrm>
              <a:off x="6411482" y="0"/>
              <a:ext cx="2386800" cy="68580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4342A32-61FD-42BA-9375-F0F329860CA5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sp>
        <p:nvSpPr>
          <p:cNvPr id="58" name="Picture Placeholder 57"/>
          <p:cNvSpPr>
            <a:spLocks noGrp="1"/>
          </p:cNvSpPr>
          <p:nvPr>
            <p:ph type="pic" sz="quarter" idx="18"/>
          </p:nvPr>
        </p:nvSpPr>
        <p:spPr bwMode="gray">
          <a:xfrm>
            <a:off x="1" y="-6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it-IT" noProof="0"/>
              <a:t>Fare clic sull'icona per inserire un'immagine</a:t>
            </a:r>
            <a:endParaRPr lang="en-US" noProof="0" dirty="0"/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5" name="Object 2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54" name="Rectangle 53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55" name="Rectangle 54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62" name="Rectangle 61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63" name="Rectangle 62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64" name="Straight Arrow Connector 63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56" idx="0"/>
              <a:endCxn id="56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>
              <a:stCxn id="56" idx="3"/>
              <a:endCxn id="56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Oval 67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8939467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er and circles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BA5E27F8-9480-4DAA-8F20-4F596F1624BB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grpSp>
        <p:nvGrpSpPr>
          <p:cNvPr id="61" name="Group 33"/>
          <p:cNvGrpSpPr>
            <a:grpSpLocks noChangeAspect="1"/>
          </p:cNvGrpSpPr>
          <p:nvPr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62" name="Freeform 61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5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6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8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69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0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1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73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78" name="Picture Placeholder 77"/>
          <p:cNvSpPr>
            <a:spLocks noGrp="1"/>
          </p:cNvSpPr>
          <p:nvPr>
            <p:ph type="pic" sz="quarter" idx="17"/>
          </p:nvPr>
        </p:nvSpPr>
        <p:spPr bwMode="gray">
          <a:xfrm>
            <a:off x="3" y="-12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it-IT" noProof="0"/>
              <a:t>Fare clic sull'icona per inserire un'immagin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3138422"/>
            <a:ext cx="1825200" cy="1825200"/>
          </a:xfrm>
          <a:prstGeom prst="snip2DiagRect">
            <a:avLst>
              <a:gd name="adj1" fmla="val 12094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1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3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66600" y="3138422"/>
            <a:ext cx="1825200" cy="1825200"/>
          </a:xfrm>
          <a:prstGeom prst="snip2DiagRect">
            <a:avLst>
              <a:gd name="adj1" fmla="val 12308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2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73200" y="3138422"/>
            <a:ext cx="1825200" cy="1825200"/>
          </a:xfrm>
          <a:prstGeom prst="snip2DiagRect">
            <a:avLst>
              <a:gd name="adj1" fmla="val 12182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3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79800" y="3138422"/>
            <a:ext cx="1825200" cy="1825200"/>
          </a:xfrm>
          <a:prstGeom prst="snip2DiagRect">
            <a:avLst>
              <a:gd name="adj1" fmla="val 12182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4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360000" y="4333622"/>
            <a:ext cx="630000" cy="63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2566600" y="4333622"/>
            <a:ext cx="630000" cy="63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4773200" y="4333622"/>
            <a:ext cx="630000" cy="63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979800" y="4333622"/>
            <a:ext cx="630000" cy="63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grpSp>
        <p:nvGrpSpPr>
          <p:cNvPr id="51" name="Group 50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67" name="Rectangle 66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74" name="Rectangle 73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81" name="Rectangle 80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82" name="Rectangle 81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83" name="Straight Arrow Connector 82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>
              <a:stCxn id="75" idx="0"/>
              <a:endCxn id="75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>
              <a:stCxn id="75" idx="3"/>
              <a:endCxn id="75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Oval 86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0" y="-221258"/>
            <a:ext cx="36000" cy="36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428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032448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 bwMode="gray"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9DA26AA-5526-4E81-8BE7-59F3BFAF81C1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FDD98542-2088-4003-AE75-1F3EF3401E1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-2"/>
            <a:ext cx="9144000" cy="6858003"/>
          </a:xfrm>
          <a:custGeom>
            <a:avLst/>
            <a:gdLst>
              <a:gd name="connsiteX0" fmla="*/ 0 w 9144000"/>
              <a:gd name="connsiteY0" fmla="*/ 0 h 6858003"/>
              <a:gd name="connsiteX1" fmla="*/ 4320985 w 9144000"/>
              <a:gd name="connsiteY1" fmla="*/ 0 h 6858003"/>
              <a:gd name="connsiteX2" fmla="*/ 9144000 w 9144000"/>
              <a:gd name="connsiteY2" fmla="*/ 4823013 h 6858003"/>
              <a:gd name="connsiteX3" fmla="*/ 9144000 w 9144000"/>
              <a:gd name="connsiteY3" fmla="*/ 6858003 h 6858003"/>
              <a:gd name="connsiteX4" fmla="*/ 0 w 9144000"/>
              <a:gd name="connsiteY4" fmla="*/ 6858003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6858003">
                <a:moveTo>
                  <a:pt x="0" y="0"/>
                </a:moveTo>
                <a:lnTo>
                  <a:pt x="4320985" y="0"/>
                </a:lnTo>
                <a:lnTo>
                  <a:pt x="9144000" y="4823013"/>
                </a:lnTo>
                <a:lnTo>
                  <a:pt x="9144000" y="6858003"/>
                </a:lnTo>
                <a:lnTo>
                  <a:pt x="0" y="685800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it-IT"/>
              <a:t>Fare clic sull'icona per inserire un'immagine</a:t>
            </a:r>
            <a:endParaRPr lang="en-US" dirty="0"/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A07E4FC3-BE33-4608-BD1A-2ED601C3CAF6}"/>
              </a:ext>
            </a:extLst>
          </p:cNvPr>
          <p:cNvSpPr/>
          <p:nvPr userDrawn="1"/>
        </p:nvSpPr>
        <p:spPr>
          <a:xfrm flipH="1" flipV="1">
            <a:off x="4320985" y="-2"/>
            <a:ext cx="4823015" cy="482301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60000" y="4142154"/>
            <a:ext cx="5868000" cy="2093640"/>
          </a:xfrm>
          <a:prstGeom prst="snip2DiagRect">
            <a:avLst>
              <a:gd name="adj1" fmla="val 12651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wrap="square" lIns="108000" tIns="108000" rIns="108000" bIns="0" rtlCol="0" anchor="t" anchorCtr="0">
            <a:no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ts val="0"/>
              </a:spcBef>
              <a:defRPr lang="en-GB" sz="4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08079" y="5393394"/>
            <a:ext cx="5619920" cy="8424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20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subtitle style</a:t>
            </a:r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3DF89A1-679E-40F3-A523-B9AD3177101C}"/>
              </a:ext>
            </a:extLst>
          </p:cNvPr>
          <p:cNvGrpSpPr/>
          <p:nvPr userDrawn="1"/>
        </p:nvGrpSpPr>
        <p:grpSpPr>
          <a:xfrm>
            <a:off x="9203090" y="6248400"/>
            <a:ext cx="1530000" cy="606985"/>
            <a:chOff x="9203090" y="4536515"/>
            <a:chExt cx="1440002" cy="606985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3FB5BED-6F34-4E12-BC0B-22234747399A}"/>
                </a:ext>
              </a:extLst>
            </p:cNvPr>
            <p:cNvCxnSpPr/>
            <p:nvPr/>
          </p:nvCxnSpPr>
          <p:spPr bwMode="gray">
            <a:xfrm flipH="1">
              <a:off x="9203092" y="514350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5033AD6D-0412-4238-9B39-7F1FB2D810FE}"/>
                </a:ext>
              </a:extLst>
            </p:cNvPr>
            <p:cNvCxnSpPr/>
            <p:nvPr/>
          </p:nvCxnSpPr>
          <p:spPr bwMode="gray">
            <a:xfrm flipH="1">
              <a:off x="9203092" y="4536515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CF63645-7F79-4148-A0C6-D342B1DB53A6}"/>
                </a:ext>
              </a:extLst>
            </p:cNvPr>
            <p:cNvSpPr/>
            <p:nvPr/>
          </p:nvSpPr>
          <p:spPr bwMode="gray">
            <a:xfrm flipH="1">
              <a:off x="9203090" y="4721225"/>
              <a:ext cx="1439999" cy="422274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000" b="0" dirty="0">
                  <a:solidFill>
                    <a:schemeClr val="tx1"/>
                  </a:solidFill>
                </a:rPr>
                <a:t>Logo margin bottom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1ACA5F-8E4B-4ECB-8D6A-844D9A5A844B}"/>
              </a:ext>
            </a:extLst>
          </p:cNvPr>
          <p:cNvGrpSpPr/>
          <p:nvPr userDrawn="1"/>
        </p:nvGrpSpPr>
        <p:grpSpPr>
          <a:xfrm>
            <a:off x="8801099" y="6915196"/>
            <a:ext cx="342904" cy="1530000"/>
            <a:chOff x="8801099" y="5203311"/>
            <a:chExt cx="342904" cy="1440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48E797F-9054-4A43-B1AD-E85FF092152F}"/>
                </a:ext>
              </a:extLst>
            </p:cNvPr>
            <p:cNvCxnSpPr/>
            <p:nvPr/>
          </p:nvCxnSpPr>
          <p:spPr bwMode="gray">
            <a:xfrm rot="5400000" flipH="1">
              <a:off x="8081575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1B80AFB-87CC-414E-AB8F-5D4D28968C8A}"/>
                </a:ext>
              </a:extLst>
            </p:cNvPr>
            <p:cNvCxnSpPr/>
            <p:nvPr/>
          </p:nvCxnSpPr>
          <p:spPr bwMode="gray">
            <a:xfrm rot="5400000" flipH="1">
              <a:off x="8424003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A0F658D-EE0B-4BCB-AF58-E5778B0F22AA}"/>
                </a:ext>
              </a:extLst>
            </p:cNvPr>
            <p:cNvSpPr/>
            <p:nvPr/>
          </p:nvSpPr>
          <p:spPr bwMode="gray">
            <a:xfrm rot="5400000" flipH="1">
              <a:off x="8251993" y="5752418"/>
              <a:ext cx="1439999" cy="34178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000" b="0" dirty="0">
                  <a:solidFill>
                    <a:schemeClr val="tx1"/>
                  </a:solidFill>
                </a:rPr>
                <a:t>Logo margin right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0E3BE86E-0AD1-4E9B-A0CB-EABEE4B88A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0299" y="509381"/>
            <a:ext cx="2973600" cy="436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5072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er and circles 4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21836966-4691-4196-B40C-C1C11CD55B5A}"/>
              </a:ext>
            </a:extLst>
          </p:cNvPr>
          <p:cNvGrpSpPr/>
          <p:nvPr userDrawn="1"/>
        </p:nvGrpSpPr>
        <p:grpSpPr>
          <a:xfrm>
            <a:off x="0" y="0"/>
            <a:ext cx="9144001" cy="6858000"/>
            <a:chOff x="-1" y="0"/>
            <a:chExt cx="9144001" cy="685800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DCFBF62-4F9E-4049-894D-B561DC42F599}"/>
                </a:ext>
              </a:extLst>
            </p:cNvPr>
            <p:cNvSpPr/>
            <p:nvPr userDrawn="1"/>
          </p:nvSpPr>
          <p:spPr>
            <a:xfrm>
              <a:off x="8801100" y="0"/>
              <a:ext cx="342900" cy="68580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5805A12-29DE-40C0-8B5F-6E7515F5B73B}"/>
                </a:ext>
              </a:extLst>
            </p:cNvPr>
            <p:cNvSpPr/>
            <p:nvPr userDrawn="1"/>
          </p:nvSpPr>
          <p:spPr>
            <a:xfrm>
              <a:off x="-1" y="0"/>
              <a:ext cx="6411481" cy="68580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2416C73-99B4-4017-8248-D87ECD1BE133}"/>
                </a:ext>
              </a:extLst>
            </p:cNvPr>
            <p:cNvSpPr/>
            <p:nvPr userDrawn="1"/>
          </p:nvSpPr>
          <p:spPr>
            <a:xfrm>
              <a:off x="6411482" y="0"/>
              <a:ext cx="2386800" cy="68580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  <p:sp>
        <p:nvSpPr>
          <p:cNvPr id="83" name="Picture Placeholder 57">
            <a:extLst>
              <a:ext uri="{FF2B5EF4-FFF2-40B4-BE49-F238E27FC236}">
                <a16:creationId xmlns:a16="http://schemas.microsoft.com/office/drawing/2014/main" id="{B0E341CE-683E-4811-9888-24BD3C56CAF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 bwMode="gray">
          <a:xfrm>
            <a:off x="1" y="-600"/>
            <a:ext cx="9143999" cy="6859200"/>
          </a:xfrm>
          <a:custGeom>
            <a:avLst/>
            <a:gdLst>
              <a:gd name="connsiteX0" fmla="*/ 8266282 w 9143999"/>
              <a:gd name="connsiteY0" fmla="*/ 460518 h 6859200"/>
              <a:gd name="connsiteX1" fmla="*/ 8323990 w 9143999"/>
              <a:gd name="connsiteY1" fmla="*/ 530639 h 6859200"/>
              <a:gd name="connsiteX2" fmla="*/ 8258038 w 9143999"/>
              <a:gd name="connsiteY2" fmla="*/ 621384 h 6859200"/>
              <a:gd name="connsiteX3" fmla="*/ 8245673 w 9143999"/>
              <a:gd name="connsiteY3" fmla="*/ 621384 h 6859200"/>
              <a:gd name="connsiteX4" fmla="*/ 8245673 w 9143999"/>
              <a:gd name="connsiteY4" fmla="*/ 464643 h 6859200"/>
              <a:gd name="connsiteX5" fmla="*/ 8266282 w 9143999"/>
              <a:gd name="connsiteY5" fmla="*/ 460518 h 6859200"/>
              <a:gd name="connsiteX6" fmla="*/ 7994793 w 9143999"/>
              <a:gd name="connsiteY6" fmla="*/ 452051 h 6859200"/>
              <a:gd name="connsiteX7" fmla="*/ 8031890 w 9143999"/>
              <a:gd name="connsiteY7" fmla="*/ 538728 h 6859200"/>
              <a:gd name="connsiteX8" fmla="*/ 7994793 w 9143999"/>
              <a:gd name="connsiteY8" fmla="*/ 617151 h 6859200"/>
              <a:gd name="connsiteX9" fmla="*/ 7953573 w 9143999"/>
              <a:gd name="connsiteY9" fmla="*/ 534601 h 6859200"/>
              <a:gd name="connsiteX10" fmla="*/ 7994793 w 9143999"/>
              <a:gd name="connsiteY10" fmla="*/ 452051 h 6859200"/>
              <a:gd name="connsiteX11" fmla="*/ 7388422 w 9143999"/>
              <a:gd name="connsiteY11" fmla="*/ 452051 h 6859200"/>
              <a:gd name="connsiteX12" fmla="*/ 7426522 w 9143999"/>
              <a:gd name="connsiteY12" fmla="*/ 538728 h 6859200"/>
              <a:gd name="connsiteX13" fmla="*/ 7388422 w 9143999"/>
              <a:gd name="connsiteY13" fmla="*/ 617151 h 6859200"/>
              <a:gd name="connsiteX14" fmla="*/ 7350322 w 9143999"/>
              <a:gd name="connsiteY14" fmla="*/ 534601 h 6859200"/>
              <a:gd name="connsiteX15" fmla="*/ 7388422 w 9143999"/>
              <a:gd name="connsiteY15" fmla="*/ 452051 h 6859200"/>
              <a:gd name="connsiteX16" fmla="*/ 8561055 w 9143999"/>
              <a:gd name="connsiteY16" fmla="*/ 447817 h 6859200"/>
              <a:gd name="connsiteX17" fmla="*/ 8603389 w 9143999"/>
              <a:gd name="connsiteY17" fmla="*/ 504967 h 6859200"/>
              <a:gd name="connsiteX18" fmla="*/ 8522955 w 9143999"/>
              <a:gd name="connsiteY18" fmla="*/ 504967 h 6859200"/>
              <a:gd name="connsiteX19" fmla="*/ 8561055 w 9143999"/>
              <a:gd name="connsiteY19" fmla="*/ 447817 h 6859200"/>
              <a:gd name="connsiteX20" fmla="*/ 6563875 w 9143999"/>
              <a:gd name="connsiteY20" fmla="*/ 411834 h 6859200"/>
              <a:gd name="connsiteX21" fmla="*/ 6601023 w 9143999"/>
              <a:gd name="connsiteY21" fmla="*/ 547300 h 6859200"/>
              <a:gd name="connsiteX22" fmla="*/ 6518473 w 9143999"/>
              <a:gd name="connsiteY22" fmla="*/ 547300 h 6859200"/>
              <a:gd name="connsiteX23" fmla="*/ 6563875 w 9143999"/>
              <a:gd name="connsiteY23" fmla="*/ 411834 h 6859200"/>
              <a:gd name="connsiteX24" fmla="*/ 7030626 w 9143999"/>
              <a:gd name="connsiteY24" fmla="*/ 407601 h 6859200"/>
              <a:gd name="connsiteX25" fmla="*/ 7030626 w 9143999"/>
              <a:gd name="connsiteY25" fmla="*/ 448547 h 6859200"/>
              <a:gd name="connsiteX26" fmla="*/ 7121969 w 9143999"/>
              <a:gd name="connsiteY26" fmla="*/ 448547 h 6859200"/>
              <a:gd name="connsiteX27" fmla="*/ 7034778 w 9143999"/>
              <a:gd name="connsiteY27" fmla="*/ 620517 h 6859200"/>
              <a:gd name="connsiteX28" fmla="*/ 7030626 w 9143999"/>
              <a:gd name="connsiteY28" fmla="*/ 657368 h 6859200"/>
              <a:gd name="connsiteX29" fmla="*/ 7213311 w 9143999"/>
              <a:gd name="connsiteY29" fmla="*/ 657368 h 6859200"/>
              <a:gd name="connsiteX30" fmla="*/ 7242374 w 9143999"/>
              <a:gd name="connsiteY30" fmla="*/ 628705 h 6859200"/>
              <a:gd name="connsiteX31" fmla="*/ 7242374 w 9143999"/>
              <a:gd name="connsiteY31" fmla="*/ 612328 h 6859200"/>
              <a:gd name="connsiteX32" fmla="*/ 7192551 w 9143999"/>
              <a:gd name="connsiteY32" fmla="*/ 616423 h 6859200"/>
              <a:gd name="connsiteX33" fmla="*/ 7134425 w 9143999"/>
              <a:gd name="connsiteY33" fmla="*/ 616423 h 6859200"/>
              <a:gd name="connsiteX34" fmla="*/ 7238222 w 9143999"/>
              <a:gd name="connsiteY34" fmla="*/ 407601 h 6859200"/>
              <a:gd name="connsiteX35" fmla="*/ 7030626 w 9143999"/>
              <a:gd name="connsiteY35" fmla="*/ 407601 h 6859200"/>
              <a:gd name="connsiteX36" fmla="*/ 8565145 w 9143999"/>
              <a:gd name="connsiteY36" fmla="*/ 407600 h 6859200"/>
              <a:gd name="connsiteX37" fmla="*/ 8436174 w 9143999"/>
              <a:gd name="connsiteY37" fmla="*/ 530436 h 6859200"/>
              <a:gd name="connsiteX38" fmla="*/ 8560985 w 9143999"/>
              <a:gd name="connsiteY38" fmla="*/ 657367 h 6859200"/>
              <a:gd name="connsiteX39" fmla="*/ 8664993 w 9143999"/>
              <a:gd name="connsiteY39" fmla="*/ 579571 h 6859200"/>
              <a:gd name="connsiteX40" fmla="*/ 8594267 w 9143999"/>
              <a:gd name="connsiteY40" fmla="*/ 600044 h 6859200"/>
              <a:gd name="connsiteX41" fmla="*/ 8523541 w 9143999"/>
              <a:gd name="connsiteY41" fmla="*/ 538626 h 6859200"/>
              <a:gd name="connsiteX42" fmla="*/ 8677474 w 9143999"/>
              <a:gd name="connsiteY42" fmla="*/ 538626 h 6859200"/>
              <a:gd name="connsiteX43" fmla="*/ 8677474 w 9143999"/>
              <a:gd name="connsiteY43" fmla="*/ 509964 h 6859200"/>
              <a:gd name="connsiteX44" fmla="*/ 8565145 w 9143999"/>
              <a:gd name="connsiteY44" fmla="*/ 407600 h 6859200"/>
              <a:gd name="connsiteX45" fmla="*/ 7995873 w 9143999"/>
              <a:gd name="connsiteY45" fmla="*/ 407600 h 6859200"/>
              <a:gd name="connsiteX46" fmla="*/ 7866790 w 9143999"/>
              <a:gd name="connsiteY46" fmla="*/ 538626 h 6859200"/>
              <a:gd name="connsiteX47" fmla="*/ 7991709 w 9143999"/>
              <a:gd name="connsiteY47" fmla="*/ 657367 h 6859200"/>
              <a:gd name="connsiteX48" fmla="*/ 8120790 w 9143999"/>
              <a:gd name="connsiteY48" fmla="*/ 526341 h 6859200"/>
              <a:gd name="connsiteX49" fmla="*/ 7995873 w 9143999"/>
              <a:gd name="connsiteY49" fmla="*/ 407600 h 6859200"/>
              <a:gd name="connsiteX50" fmla="*/ 7388425 w 9143999"/>
              <a:gd name="connsiteY50" fmla="*/ 407600 h 6859200"/>
              <a:gd name="connsiteX51" fmla="*/ 7255074 w 9143999"/>
              <a:gd name="connsiteY51" fmla="*/ 538626 h 6859200"/>
              <a:gd name="connsiteX52" fmla="*/ 7388425 w 9143999"/>
              <a:gd name="connsiteY52" fmla="*/ 657367 h 6859200"/>
              <a:gd name="connsiteX53" fmla="*/ 7521774 w 9143999"/>
              <a:gd name="connsiteY53" fmla="*/ 526343 h 6859200"/>
              <a:gd name="connsiteX54" fmla="*/ 7388425 w 9143999"/>
              <a:gd name="connsiteY54" fmla="*/ 407600 h 6859200"/>
              <a:gd name="connsiteX55" fmla="*/ 6539409 w 9143999"/>
              <a:gd name="connsiteY55" fmla="*/ 341985 h 6859200"/>
              <a:gd name="connsiteX56" fmla="*/ 6427457 w 9143999"/>
              <a:gd name="connsiteY56" fmla="*/ 657368 h 6859200"/>
              <a:gd name="connsiteX57" fmla="*/ 6477213 w 9143999"/>
              <a:gd name="connsiteY57" fmla="*/ 657368 h 6859200"/>
              <a:gd name="connsiteX58" fmla="*/ 6506238 w 9143999"/>
              <a:gd name="connsiteY58" fmla="*/ 579546 h 6859200"/>
              <a:gd name="connsiteX59" fmla="*/ 6614043 w 9143999"/>
              <a:gd name="connsiteY59" fmla="*/ 579546 h 6859200"/>
              <a:gd name="connsiteX60" fmla="*/ 6630629 w 9143999"/>
              <a:gd name="connsiteY60" fmla="*/ 628696 h 6859200"/>
              <a:gd name="connsiteX61" fmla="*/ 6663799 w 9143999"/>
              <a:gd name="connsiteY61" fmla="*/ 657368 h 6859200"/>
              <a:gd name="connsiteX62" fmla="*/ 6730141 w 9143999"/>
              <a:gd name="connsiteY62" fmla="*/ 657368 h 6859200"/>
              <a:gd name="connsiteX63" fmla="*/ 6721849 w 9143999"/>
              <a:gd name="connsiteY63" fmla="*/ 636888 h 6859200"/>
              <a:gd name="connsiteX64" fmla="*/ 6643067 w 9143999"/>
              <a:gd name="connsiteY64" fmla="*/ 387040 h 6859200"/>
              <a:gd name="connsiteX65" fmla="*/ 6580873 w 9143999"/>
              <a:gd name="connsiteY65" fmla="*/ 341985 h 6859200"/>
              <a:gd name="connsiteX66" fmla="*/ 6539409 w 9143999"/>
              <a:gd name="connsiteY66" fmla="*/ 341985 h 6859200"/>
              <a:gd name="connsiteX67" fmla="*/ 7557757 w 9143999"/>
              <a:gd name="connsiteY67" fmla="*/ 341984 h 6859200"/>
              <a:gd name="connsiteX68" fmla="*/ 7557757 w 9143999"/>
              <a:gd name="connsiteY68" fmla="*/ 657367 h 6859200"/>
              <a:gd name="connsiteX69" fmla="*/ 7611943 w 9143999"/>
              <a:gd name="connsiteY69" fmla="*/ 657367 h 6859200"/>
              <a:gd name="connsiteX70" fmla="*/ 7611943 w 9143999"/>
              <a:gd name="connsiteY70" fmla="*/ 460765 h 6859200"/>
              <a:gd name="connsiteX71" fmla="*/ 7741158 w 9143999"/>
              <a:gd name="connsiteY71" fmla="*/ 616408 h 6859200"/>
              <a:gd name="connsiteX72" fmla="*/ 7791177 w 9143999"/>
              <a:gd name="connsiteY72" fmla="*/ 657367 h 6859200"/>
              <a:gd name="connsiteX73" fmla="*/ 7828690 w 9143999"/>
              <a:gd name="connsiteY73" fmla="*/ 657367 h 6859200"/>
              <a:gd name="connsiteX74" fmla="*/ 7828690 w 9143999"/>
              <a:gd name="connsiteY74" fmla="*/ 370656 h 6859200"/>
              <a:gd name="connsiteX75" fmla="*/ 7799513 w 9143999"/>
              <a:gd name="connsiteY75" fmla="*/ 341984 h 6859200"/>
              <a:gd name="connsiteX76" fmla="*/ 7774503 w 9143999"/>
              <a:gd name="connsiteY76" fmla="*/ 341984 h 6859200"/>
              <a:gd name="connsiteX77" fmla="*/ 7774503 w 9143999"/>
              <a:gd name="connsiteY77" fmla="*/ 534491 h 6859200"/>
              <a:gd name="connsiteX78" fmla="*/ 7653626 w 9143999"/>
              <a:gd name="connsiteY78" fmla="*/ 378848 h 6859200"/>
              <a:gd name="connsiteX79" fmla="*/ 7595271 w 9143999"/>
              <a:gd name="connsiteY79" fmla="*/ 341984 h 6859200"/>
              <a:gd name="connsiteX80" fmla="*/ 7557757 w 9143999"/>
              <a:gd name="connsiteY80" fmla="*/ 341984 h 6859200"/>
              <a:gd name="connsiteX81" fmla="*/ 8719807 w 9143999"/>
              <a:gd name="connsiteY81" fmla="*/ 316584 h 6859200"/>
              <a:gd name="connsiteX82" fmla="*/ 8719807 w 9143999"/>
              <a:gd name="connsiteY82" fmla="*/ 657367 h 6859200"/>
              <a:gd name="connsiteX83" fmla="*/ 8793891 w 9143999"/>
              <a:gd name="connsiteY83" fmla="*/ 657367 h 6859200"/>
              <a:gd name="connsiteX84" fmla="*/ 8793891 w 9143999"/>
              <a:gd name="connsiteY84" fmla="*/ 365854 h 6859200"/>
              <a:gd name="connsiteX85" fmla="*/ 8748618 w 9143999"/>
              <a:gd name="connsiteY85" fmla="*/ 316584 h 6859200"/>
              <a:gd name="connsiteX86" fmla="*/ 8719807 w 9143999"/>
              <a:gd name="connsiteY86" fmla="*/ 316584 h 6859200"/>
              <a:gd name="connsiteX87" fmla="*/ 8156774 w 9143999"/>
              <a:gd name="connsiteY87" fmla="*/ 316584 h 6859200"/>
              <a:gd name="connsiteX88" fmla="*/ 8156774 w 9143999"/>
              <a:gd name="connsiteY88" fmla="*/ 657367 h 6859200"/>
              <a:gd name="connsiteX89" fmla="*/ 8260873 w 9143999"/>
              <a:gd name="connsiteY89" fmla="*/ 657367 h 6859200"/>
              <a:gd name="connsiteX90" fmla="*/ 8410774 w 9143999"/>
              <a:gd name="connsiteY90" fmla="*/ 517769 h 6859200"/>
              <a:gd name="connsiteX91" fmla="*/ 8310839 w 9143999"/>
              <a:gd name="connsiteY91" fmla="*/ 411017 h 6859200"/>
              <a:gd name="connsiteX92" fmla="*/ 8244217 w 9143999"/>
              <a:gd name="connsiteY92" fmla="*/ 435654 h 6859200"/>
              <a:gd name="connsiteX93" fmla="*/ 8244217 w 9143999"/>
              <a:gd name="connsiteY93" fmla="*/ 365855 h 6859200"/>
              <a:gd name="connsiteX94" fmla="*/ 8190086 w 9143999"/>
              <a:gd name="connsiteY94" fmla="*/ 316584 h 6859200"/>
              <a:gd name="connsiteX95" fmla="*/ 8156774 w 9143999"/>
              <a:gd name="connsiteY95" fmla="*/ 316584 h 6859200"/>
              <a:gd name="connsiteX96" fmla="*/ 6759774 w 9143999"/>
              <a:gd name="connsiteY96" fmla="*/ 316584 h 6859200"/>
              <a:gd name="connsiteX97" fmla="*/ 6759774 w 9143999"/>
              <a:gd name="connsiteY97" fmla="*/ 657367 h 6859200"/>
              <a:gd name="connsiteX98" fmla="*/ 6846558 w 9143999"/>
              <a:gd name="connsiteY98" fmla="*/ 657367 h 6859200"/>
              <a:gd name="connsiteX99" fmla="*/ 6846558 w 9143999"/>
              <a:gd name="connsiteY99" fmla="*/ 561146 h 6859200"/>
              <a:gd name="connsiteX100" fmla="*/ 6846558 w 9143999"/>
              <a:gd name="connsiteY100" fmla="*/ 526344 h 6859200"/>
              <a:gd name="connsiteX101" fmla="*/ 6875559 w 9143999"/>
              <a:gd name="connsiteY101" fmla="*/ 578420 h 6859200"/>
              <a:gd name="connsiteX102" fmla="*/ 6896722 w 9143999"/>
              <a:gd name="connsiteY102" fmla="*/ 616423 h 6859200"/>
              <a:gd name="connsiteX103" fmla="*/ 6942707 w 9143999"/>
              <a:gd name="connsiteY103" fmla="*/ 657368 h 6859200"/>
              <a:gd name="connsiteX104" fmla="*/ 7013774 w 9143999"/>
              <a:gd name="connsiteY104" fmla="*/ 657368 h 6859200"/>
              <a:gd name="connsiteX105" fmla="*/ 6997053 w 9143999"/>
              <a:gd name="connsiteY105" fmla="*/ 636895 h 6859200"/>
              <a:gd name="connsiteX106" fmla="*/ 6930166 w 9143999"/>
              <a:gd name="connsiteY106" fmla="*/ 505869 h 6859200"/>
              <a:gd name="connsiteX107" fmla="*/ 7009594 w 9143999"/>
              <a:gd name="connsiteY107" fmla="*/ 407601 h 6859200"/>
              <a:gd name="connsiteX108" fmla="*/ 6938526 w 9143999"/>
              <a:gd name="connsiteY108" fmla="*/ 407601 h 6859200"/>
              <a:gd name="connsiteX109" fmla="*/ 6847994 w 9143999"/>
              <a:gd name="connsiteY109" fmla="*/ 524487 h 6859200"/>
              <a:gd name="connsiteX110" fmla="*/ 6846558 w 9143999"/>
              <a:gd name="connsiteY110" fmla="*/ 526340 h 6859200"/>
              <a:gd name="connsiteX111" fmla="*/ 6846558 w 9143999"/>
              <a:gd name="connsiteY111" fmla="*/ 488836 h 6859200"/>
              <a:gd name="connsiteX112" fmla="*/ 6846558 w 9143999"/>
              <a:gd name="connsiteY112" fmla="*/ 365855 h 6859200"/>
              <a:gd name="connsiteX113" fmla="*/ 6788702 w 9143999"/>
              <a:gd name="connsiteY113" fmla="*/ 316584 h 6859200"/>
              <a:gd name="connsiteX114" fmla="*/ 6759774 w 9143999"/>
              <a:gd name="connsiteY114" fmla="*/ 316584 h 6859200"/>
              <a:gd name="connsiteX115" fmla="*/ 8978977 w 9143999"/>
              <a:gd name="connsiteY115" fmla="*/ 0 h 6859200"/>
              <a:gd name="connsiteX116" fmla="*/ 9143999 w 9143999"/>
              <a:gd name="connsiteY116" fmla="*/ 0 h 6859200"/>
              <a:gd name="connsiteX117" fmla="*/ 9143999 w 9143999"/>
              <a:gd name="connsiteY117" fmla="*/ 6859200 h 6859200"/>
              <a:gd name="connsiteX118" fmla="*/ 9105338 w 9143999"/>
              <a:gd name="connsiteY118" fmla="*/ 6859200 h 6859200"/>
              <a:gd name="connsiteX119" fmla="*/ 9081755 w 9143999"/>
              <a:gd name="connsiteY119" fmla="*/ 6859200 h 6859200"/>
              <a:gd name="connsiteX120" fmla="*/ 8978977 w 9143999"/>
              <a:gd name="connsiteY120" fmla="*/ 6859200 h 6859200"/>
              <a:gd name="connsiteX121" fmla="*/ 8873126 w 9143999"/>
              <a:gd name="connsiteY121" fmla="*/ 6859200 h 6859200"/>
              <a:gd name="connsiteX122" fmla="*/ 0 w 9143999"/>
              <a:gd name="connsiteY122" fmla="*/ 6859200 h 6859200"/>
              <a:gd name="connsiteX123" fmla="*/ 0 w 9143999"/>
              <a:gd name="connsiteY123" fmla="*/ 1203 h 6859200"/>
              <a:gd name="connsiteX124" fmla="*/ 8873126 w 9143999"/>
              <a:gd name="connsiteY124" fmla="*/ 1203 h 6859200"/>
              <a:gd name="connsiteX125" fmla="*/ 8873126 w 9143999"/>
              <a:gd name="connsiteY125" fmla="*/ 1200 h 6859200"/>
              <a:gd name="connsiteX126" fmla="*/ 8978977 w 9143999"/>
              <a:gd name="connsiteY126" fmla="*/ 1200 h 685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6859200">
                <a:moveTo>
                  <a:pt x="8266282" y="460518"/>
                </a:moveTo>
                <a:cubicBezTo>
                  <a:pt x="8295137" y="460518"/>
                  <a:pt x="8323990" y="489391"/>
                  <a:pt x="8323990" y="530639"/>
                </a:cubicBezTo>
                <a:cubicBezTo>
                  <a:pt x="8323990" y="588386"/>
                  <a:pt x="8299258" y="621384"/>
                  <a:pt x="8258038" y="621384"/>
                </a:cubicBezTo>
                <a:cubicBezTo>
                  <a:pt x="8245673" y="621384"/>
                  <a:pt x="8245673" y="621384"/>
                  <a:pt x="8245673" y="621384"/>
                </a:cubicBezTo>
                <a:cubicBezTo>
                  <a:pt x="8245673" y="464643"/>
                  <a:pt x="8245673" y="464643"/>
                  <a:pt x="8245673" y="464643"/>
                </a:cubicBezTo>
                <a:cubicBezTo>
                  <a:pt x="8249794" y="460518"/>
                  <a:pt x="8253917" y="460518"/>
                  <a:pt x="8266282" y="460518"/>
                </a:cubicBezTo>
                <a:close/>
                <a:moveTo>
                  <a:pt x="7994793" y="452051"/>
                </a:moveTo>
                <a:cubicBezTo>
                  <a:pt x="8019525" y="452051"/>
                  <a:pt x="8031890" y="489199"/>
                  <a:pt x="8031890" y="538728"/>
                </a:cubicBezTo>
                <a:cubicBezTo>
                  <a:pt x="8031890" y="588259"/>
                  <a:pt x="8019525" y="617151"/>
                  <a:pt x="7994793" y="617151"/>
                </a:cubicBezTo>
                <a:cubicBezTo>
                  <a:pt x="7965939" y="617151"/>
                  <a:pt x="7953573" y="584131"/>
                  <a:pt x="7953573" y="534601"/>
                </a:cubicBezTo>
                <a:cubicBezTo>
                  <a:pt x="7953573" y="485071"/>
                  <a:pt x="7965939" y="452051"/>
                  <a:pt x="7994793" y="452051"/>
                </a:cubicBezTo>
                <a:close/>
                <a:moveTo>
                  <a:pt x="7388422" y="452051"/>
                </a:moveTo>
                <a:cubicBezTo>
                  <a:pt x="7418055" y="452051"/>
                  <a:pt x="7426522" y="489199"/>
                  <a:pt x="7426522" y="538728"/>
                </a:cubicBezTo>
                <a:cubicBezTo>
                  <a:pt x="7426522" y="588259"/>
                  <a:pt x="7418055" y="617151"/>
                  <a:pt x="7388422" y="617151"/>
                </a:cubicBezTo>
                <a:cubicBezTo>
                  <a:pt x="7358789" y="617151"/>
                  <a:pt x="7350322" y="584131"/>
                  <a:pt x="7350322" y="534601"/>
                </a:cubicBezTo>
                <a:cubicBezTo>
                  <a:pt x="7350322" y="485071"/>
                  <a:pt x="7358789" y="452051"/>
                  <a:pt x="7388422" y="452051"/>
                </a:cubicBezTo>
                <a:close/>
                <a:moveTo>
                  <a:pt x="8561055" y="447817"/>
                </a:moveTo>
                <a:cubicBezTo>
                  <a:pt x="8594922" y="447817"/>
                  <a:pt x="8603389" y="504967"/>
                  <a:pt x="8603389" y="504967"/>
                </a:cubicBezTo>
                <a:cubicBezTo>
                  <a:pt x="8522955" y="504967"/>
                  <a:pt x="8522955" y="504967"/>
                  <a:pt x="8522955" y="504967"/>
                </a:cubicBezTo>
                <a:cubicBezTo>
                  <a:pt x="8522955" y="472311"/>
                  <a:pt x="8535655" y="447817"/>
                  <a:pt x="8561055" y="447817"/>
                </a:cubicBezTo>
                <a:close/>
                <a:moveTo>
                  <a:pt x="6563875" y="411834"/>
                </a:moveTo>
                <a:cubicBezTo>
                  <a:pt x="6601023" y="547300"/>
                  <a:pt x="6601023" y="547300"/>
                  <a:pt x="6601023" y="547300"/>
                </a:cubicBezTo>
                <a:cubicBezTo>
                  <a:pt x="6518473" y="547300"/>
                  <a:pt x="6518473" y="547300"/>
                  <a:pt x="6518473" y="547300"/>
                </a:cubicBezTo>
                <a:cubicBezTo>
                  <a:pt x="6563875" y="411834"/>
                  <a:pt x="6563875" y="411834"/>
                  <a:pt x="6563875" y="411834"/>
                </a:cubicBezTo>
                <a:close/>
                <a:moveTo>
                  <a:pt x="7030626" y="407601"/>
                </a:moveTo>
                <a:cubicBezTo>
                  <a:pt x="7030626" y="448547"/>
                  <a:pt x="7030626" y="448547"/>
                  <a:pt x="7030626" y="448547"/>
                </a:cubicBezTo>
                <a:cubicBezTo>
                  <a:pt x="7121969" y="448547"/>
                  <a:pt x="7121969" y="448547"/>
                  <a:pt x="7121969" y="448547"/>
                </a:cubicBezTo>
                <a:cubicBezTo>
                  <a:pt x="7034778" y="620517"/>
                  <a:pt x="7034778" y="620517"/>
                  <a:pt x="7034778" y="620517"/>
                </a:cubicBezTo>
                <a:cubicBezTo>
                  <a:pt x="7026474" y="636895"/>
                  <a:pt x="7026474" y="649179"/>
                  <a:pt x="7030626" y="657368"/>
                </a:cubicBezTo>
                <a:cubicBezTo>
                  <a:pt x="7213311" y="657368"/>
                  <a:pt x="7213311" y="657368"/>
                  <a:pt x="7213311" y="657368"/>
                </a:cubicBezTo>
                <a:cubicBezTo>
                  <a:pt x="7229918" y="657368"/>
                  <a:pt x="7242374" y="645084"/>
                  <a:pt x="7242374" y="628705"/>
                </a:cubicBezTo>
                <a:cubicBezTo>
                  <a:pt x="7242374" y="612328"/>
                  <a:pt x="7242374" y="612328"/>
                  <a:pt x="7242374" y="612328"/>
                </a:cubicBezTo>
                <a:cubicBezTo>
                  <a:pt x="7234070" y="616423"/>
                  <a:pt x="7221615" y="616423"/>
                  <a:pt x="7192551" y="616423"/>
                </a:cubicBezTo>
                <a:cubicBezTo>
                  <a:pt x="7134425" y="616423"/>
                  <a:pt x="7134425" y="616423"/>
                  <a:pt x="7134425" y="616423"/>
                </a:cubicBezTo>
                <a:cubicBezTo>
                  <a:pt x="7238222" y="407601"/>
                  <a:pt x="7238222" y="407601"/>
                  <a:pt x="7238222" y="407601"/>
                </a:cubicBezTo>
                <a:cubicBezTo>
                  <a:pt x="7030626" y="407601"/>
                  <a:pt x="7030626" y="407601"/>
                  <a:pt x="7030626" y="407601"/>
                </a:cubicBezTo>
                <a:close/>
                <a:moveTo>
                  <a:pt x="8565145" y="407600"/>
                </a:moveTo>
                <a:cubicBezTo>
                  <a:pt x="8490258" y="407600"/>
                  <a:pt x="8436174" y="456735"/>
                  <a:pt x="8436174" y="530436"/>
                </a:cubicBezTo>
                <a:cubicBezTo>
                  <a:pt x="8436174" y="604137"/>
                  <a:pt x="8486098" y="657367"/>
                  <a:pt x="8560985" y="657367"/>
                </a:cubicBezTo>
                <a:cubicBezTo>
                  <a:pt x="8635870" y="657367"/>
                  <a:pt x="8664993" y="616422"/>
                  <a:pt x="8664993" y="579571"/>
                </a:cubicBezTo>
                <a:cubicBezTo>
                  <a:pt x="8648351" y="591855"/>
                  <a:pt x="8623390" y="600044"/>
                  <a:pt x="8594267" y="600044"/>
                </a:cubicBezTo>
                <a:cubicBezTo>
                  <a:pt x="8552663" y="600044"/>
                  <a:pt x="8523541" y="575476"/>
                  <a:pt x="8523541" y="538626"/>
                </a:cubicBezTo>
                <a:cubicBezTo>
                  <a:pt x="8677474" y="538626"/>
                  <a:pt x="8677474" y="538626"/>
                  <a:pt x="8677474" y="538626"/>
                </a:cubicBezTo>
                <a:cubicBezTo>
                  <a:pt x="8677474" y="526341"/>
                  <a:pt x="8677474" y="518154"/>
                  <a:pt x="8677474" y="509964"/>
                </a:cubicBezTo>
                <a:cubicBezTo>
                  <a:pt x="8677474" y="452640"/>
                  <a:pt x="8635870" y="407600"/>
                  <a:pt x="8565145" y="407600"/>
                </a:cubicBezTo>
                <a:close/>
                <a:moveTo>
                  <a:pt x="7995873" y="407600"/>
                </a:moveTo>
                <a:cubicBezTo>
                  <a:pt x="7920922" y="407600"/>
                  <a:pt x="7866790" y="456735"/>
                  <a:pt x="7866790" y="538626"/>
                </a:cubicBezTo>
                <a:cubicBezTo>
                  <a:pt x="7866790" y="608232"/>
                  <a:pt x="7920922" y="657367"/>
                  <a:pt x="7991709" y="657367"/>
                </a:cubicBezTo>
                <a:cubicBezTo>
                  <a:pt x="8062495" y="657367"/>
                  <a:pt x="8120790" y="608232"/>
                  <a:pt x="8120790" y="526341"/>
                </a:cubicBezTo>
                <a:cubicBezTo>
                  <a:pt x="8120790" y="456735"/>
                  <a:pt x="8066659" y="407600"/>
                  <a:pt x="7995873" y="407600"/>
                </a:cubicBezTo>
                <a:close/>
                <a:moveTo>
                  <a:pt x="7388425" y="407600"/>
                </a:moveTo>
                <a:cubicBezTo>
                  <a:pt x="7317582" y="407600"/>
                  <a:pt x="7255074" y="456735"/>
                  <a:pt x="7255074" y="538626"/>
                </a:cubicBezTo>
                <a:cubicBezTo>
                  <a:pt x="7255074" y="608234"/>
                  <a:pt x="7317582" y="657367"/>
                  <a:pt x="7388425" y="657367"/>
                </a:cubicBezTo>
                <a:cubicBezTo>
                  <a:pt x="7459266" y="657367"/>
                  <a:pt x="7521774" y="608234"/>
                  <a:pt x="7521774" y="526343"/>
                </a:cubicBezTo>
                <a:cubicBezTo>
                  <a:pt x="7521774" y="456735"/>
                  <a:pt x="7463434" y="407600"/>
                  <a:pt x="7388425" y="407600"/>
                </a:cubicBezTo>
                <a:close/>
                <a:moveTo>
                  <a:pt x="6539409" y="341985"/>
                </a:moveTo>
                <a:cubicBezTo>
                  <a:pt x="6427457" y="657368"/>
                  <a:pt x="6427457" y="657368"/>
                  <a:pt x="6427457" y="657368"/>
                </a:cubicBezTo>
                <a:cubicBezTo>
                  <a:pt x="6477213" y="657368"/>
                  <a:pt x="6477213" y="657368"/>
                  <a:pt x="6477213" y="657368"/>
                </a:cubicBezTo>
                <a:cubicBezTo>
                  <a:pt x="6506238" y="579546"/>
                  <a:pt x="6506238" y="579546"/>
                  <a:pt x="6506238" y="579546"/>
                </a:cubicBezTo>
                <a:cubicBezTo>
                  <a:pt x="6614043" y="579546"/>
                  <a:pt x="6614043" y="579546"/>
                  <a:pt x="6614043" y="579546"/>
                </a:cubicBezTo>
                <a:cubicBezTo>
                  <a:pt x="6630629" y="628696"/>
                  <a:pt x="6630629" y="628696"/>
                  <a:pt x="6630629" y="628696"/>
                </a:cubicBezTo>
                <a:cubicBezTo>
                  <a:pt x="6638921" y="649176"/>
                  <a:pt x="6643067" y="657368"/>
                  <a:pt x="6663799" y="657368"/>
                </a:cubicBezTo>
                <a:cubicBezTo>
                  <a:pt x="6730141" y="657368"/>
                  <a:pt x="6730141" y="657368"/>
                  <a:pt x="6730141" y="657368"/>
                </a:cubicBezTo>
                <a:cubicBezTo>
                  <a:pt x="6730141" y="653272"/>
                  <a:pt x="6725994" y="649176"/>
                  <a:pt x="6721849" y="636888"/>
                </a:cubicBezTo>
                <a:cubicBezTo>
                  <a:pt x="6643067" y="387040"/>
                  <a:pt x="6643067" y="387040"/>
                  <a:pt x="6643067" y="387040"/>
                </a:cubicBezTo>
                <a:cubicBezTo>
                  <a:pt x="6630629" y="358368"/>
                  <a:pt x="6618190" y="341985"/>
                  <a:pt x="6580873" y="341985"/>
                </a:cubicBezTo>
                <a:cubicBezTo>
                  <a:pt x="6539409" y="341985"/>
                  <a:pt x="6539409" y="341985"/>
                  <a:pt x="6539409" y="341985"/>
                </a:cubicBezTo>
                <a:close/>
                <a:moveTo>
                  <a:pt x="7557757" y="341984"/>
                </a:moveTo>
                <a:cubicBezTo>
                  <a:pt x="7557757" y="657367"/>
                  <a:pt x="7557757" y="657367"/>
                  <a:pt x="7557757" y="657367"/>
                </a:cubicBezTo>
                <a:cubicBezTo>
                  <a:pt x="7611943" y="657367"/>
                  <a:pt x="7611943" y="657367"/>
                  <a:pt x="7611943" y="657367"/>
                </a:cubicBezTo>
                <a:cubicBezTo>
                  <a:pt x="7611943" y="460765"/>
                  <a:pt x="7611943" y="460765"/>
                  <a:pt x="7611943" y="460765"/>
                </a:cubicBezTo>
                <a:cubicBezTo>
                  <a:pt x="7741158" y="616408"/>
                  <a:pt x="7741158" y="616408"/>
                  <a:pt x="7741158" y="616408"/>
                </a:cubicBezTo>
                <a:cubicBezTo>
                  <a:pt x="7757831" y="640984"/>
                  <a:pt x="7770335" y="657367"/>
                  <a:pt x="7791177" y="657367"/>
                </a:cubicBezTo>
                <a:cubicBezTo>
                  <a:pt x="7828690" y="657367"/>
                  <a:pt x="7828690" y="657367"/>
                  <a:pt x="7828690" y="657367"/>
                </a:cubicBezTo>
                <a:cubicBezTo>
                  <a:pt x="7828690" y="370656"/>
                  <a:pt x="7828690" y="370656"/>
                  <a:pt x="7828690" y="370656"/>
                </a:cubicBezTo>
                <a:cubicBezTo>
                  <a:pt x="7828690" y="354272"/>
                  <a:pt x="7816186" y="341984"/>
                  <a:pt x="7799513" y="341984"/>
                </a:cubicBezTo>
                <a:cubicBezTo>
                  <a:pt x="7774503" y="341984"/>
                  <a:pt x="7774503" y="341984"/>
                  <a:pt x="7774503" y="341984"/>
                </a:cubicBezTo>
                <a:cubicBezTo>
                  <a:pt x="7774503" y="534491"/>
                  <a:pt x="7774503" y="534491"/>
                  <a:pt x="7774503" y="534491"/>
                </a:cubicBezTo>
                <a:cubicBezTo>
                  <a:pt x="7653626" y="378848"/>
                  <a:pt x="7653626" y="378848"/>
                  <a:pt x="7653626" y="378848"/>
                </a:cubicBezTo>
                <a:cubicBezTo>
                  <a:pt x="7632785" y="358368"/>
                  <a:pt x="7624449" y="341984"/>
                  <a:pt x="7595271" y="341984"/>
                </a:cubicBezTo>
                <a:cubicBezTo>
                  <a:pt x="7557757" y="341984"/>
                  <a:pt x="7557757" y="341984"/>
                  <a:pt x="7557757" y="341984"/>
                </a:cubicBezTo>
                <a:close/>
                <a:moveTo>
                  <a:pt x="8719807" y="316584"/>
                </a:moveTo>
                <a:cubicBezTo>
                  <a:pt x="8719807" y="657367"/>
                  <a:pt x="8719807" y="657367"/>
                  <a:pt x="8719807" y="657367"/>
                </a:cubicBezTo>
                <a:cubicBezTo>
                  <a:pt x="8793891" y="657367"/>
                  <a:pt x="8793891" y="657367"/>
                  <a:pt x="8793891" y="657367"/>
                </a:cubicBezTo>
                <a:cubicBezTo>
                  <a:pt x="8793891" y="365854"/>
                  <a:pt x="8793891" y="365854"/>
                  <a:pt x="8793891" y="365854"/>
                </a:cubicBezTo>
                <a:cubicBezTo>
                  <a:pt x="8793891" y="337114"/>
                  <a:pt x="8773313" y="316584"/>
                  <a:pt x="8748618" y="316584"/>
                </a:cubicBezTo>
                <a:cubicBezTo>
                  <a:pt x="8719807" y="316584"/>
                  <a:pt x="8719807" y="316584"/>
                  <a:pt x="8719807" y="316584"/>
                </a:cubicBezTo>
                <a:close/>
                <a:moveTo>
                  <a:pt x="8156774" y="316584"/>
                </a:moveTo>
                <a:cubicBezTo>
                  <a:pt x="8156774" y="657367"/>
                  <a:pt x="8156774" y="657367"/>
                  <a:pt x="8156774" y="657367"/>
                </a:cubicBezTo>
                <a:cubicBezTo>
                  <a:pt x="8260873" y="657367"/>
                  <a:pt x="8260873" y="657367"/>
                  <a:pt x="8260873" y="657367"/>
                </a:cubicBezTo>
                <a:cubicBezTo>
                  <a:pt x="8356643" y="657367"/>
                  <a:pt x="8410774" y="608098"/>
                  <a:pt x="8410774" y="517769"/>
                </a:cubicBezTo>
                <a:cubicBezTo>
                  <a:pt x="8410774" y="456181"/>
                  <a:pt x="8369134" y="411017"/>
                  <a:pt x="8310839" y="411017"/>
                </a:cubicBezTo>
                <a:cubicBezTo>
                  <a:pt x="8281693" y="411017"/>
                  <a:pt x="8256709" y="423336"/>
                  <a:pt x="8244217" y="435654"/>
                </a:cubicBezTo>
                <a:cubicBezTo>
                  <a:pt x="8244217" y="365855"/>
                  <a:pt x="8244217" y="365855"/>
                  <a:pt x="8244217" y="365855"/>
                </a:cubicBezTo>
                <a:cubicBezTo>
                  <a:pt x="8244217" y="337114"/>
                  <a:pt x="8219233" y="316584"/>
                  <a:pt x="8190086" y="316584"/>
                </a:cubicBezTo>
                <a:cubicBezTo>
                  <a:pt x="8156774" y="316584"/>
                  <a:pt x="8156774" y="316584"/>
                  <a:pt x="8156774" y="316584"/>
                </a:cubicBezTo>
                <a:close/>
                <a:moveTo>
                  <a:pt x="6759774" y="316584"/>
                </a:moveTo>
                <a:cubicBezTo>
                  <a:pt x="6759774" y="657367"/>
                  <a:pt x="6759774" y="657367"/>
                  <a:pt x="6759774" y="657367"/>
                </a:cubicBezTo>
                <a:cubicBezTo>
                  <a:pt x="6846558" y="657367"/>
                  <a:pt x="6846558" y="657367"/>
                  <a:pt x="6846558" y="657367"/>
                </a:cubicBezTo>
                <a:cubicBezTo>
                  <a:pt x="6846558" y="620928"/>
                  <a:pt x="6846558" y="589044"/>
                  <a:pt x="6846558" y="561146"/>
                </a:cubicBezTo>
                <a:lnTo>
                  <a:pt x="6846558" y="526344"/>
                </a:lnTo>
                <a:lnTo>
                  <a:pt x="6875559" y="578420"/>
                </a:lnTo>
                <a:cubicBezTo>
                  <a:pt x="6896722" y="616423"/>
                  <a:pt x="6896722" y="616423"/>
                  <a:pt x="6896722" y="616423"/>
                </a:cubicBezTo>
                <a:cubicBezTo>
                  <a:pt x="6909263" y="645084"/>
                  <a:pt x="6913443" y="657368"/>
                  <a:pt x="6942707" y="657368"/>
                </a:cubicBezTo>
                <a:cubicBezTo>
                  <a:pt x="7013774" y="657368"/>
                  <a:pt x="7013774" y="657368"/>
                  <a:pt x="7013774" y="657368"/>
                </a:cubicBezTo>
                <a:cubicBezTo>
                  <a:pt x="7009594" y="653274"/>
                  <a:pt x="7005414" y="649179"/>
                  <a:pt x="6997053" y="636895"/>
                </a:cubicBezTo>
                <a:cubicBezTo>
                  <a:pt x="6930166" y="505869"/>
                  <a:pt x="6930166" y="505869"/>
                  <a:pt x="6930166" y="505869"/>
                </a:cubicBezTo>
                <a:cubicBezTo>
                  <a:pt x="7009594" y="407601"/>
                  <a:pt x="7009594" y="407601"/>
                  <a:pt x="7009594" y="407601"/>
                </a:cubicBezTo>
                <a:cubicBezTo>
                  <a:pt x="6938526" y="407601"/>
                  <a:pt x="6938526" y="407601"/>
                  <a:pt x="6938526" y="407601"/>
                </a:cubicBezTo>
                <a:cubicBezTo>
                  <a:pt x="6869550" y="496658"/>
                  <a:pt x="6852305" y="518921"/>
                  <a:pt x="6847994" y="524487"/>
                </a:cubicBezTo>
                <a:lnTo>
                  <a:pt x="6846558" y="526340"/>
                </a:lnTo>
                <a:lnTo>
                  <a:pt x="6846558" y="488836"/>
                </a:lnTo>
                <a:cubicBezTo>
                  <a:pt x="6846558" y="365855"/>
                  <a:pt x="6846558" y="365855"/>
                  <a:pt x="6846558" y="365855"/>
                </a:cubicBezTo>
                <a:cubicBezTo>
                  <a:pt x="6846558" y="337114"/>
                  <a:pt x="6821763" y="316584"/>
                  <a:pt x="6788702" y="316584"/>
                </a:cubicBezTo>
                <a:cubicBezTo>
                  <a:pt x="6759774" y="316584"/>
                  <a:pt x="6759774" y="316584"/>
                  <a:pt x="6759774" y="316584"/>
                </a:cubicBezTo>
                <a:close/>
                <a:moveTo>
                  <a:pt x="8978977" y="0"/>
                </a:moveTo>
                <a:lnTo>
                  <a:pt x="9143999" y="0"/>
                </a:lnTo>
                <a:lnTo>
                  <a:pt x="9143999" y="6859200"/>
                </a:lnTo>
                <a:lnTo>
                  <a:pt x="9105338" y="6859200"/>
                </a:lnTo>
                <a:lnTo>
                  <a:pt x="9081755" y="6859200"/>
                </a:lnTo>
                <a:lnTo>
                  <a:pt x="8978977" y="6859200"/>
                </a:lnTo>
                <a:lnTo>
                  <a:pt x="8873126" y="6859200"/>
                </a:lnTo>
                <a:lnTo>
                  <a:pt x="0" y="6859200"/>
                </a:lnTo>
                <a:lnTo>
                  <a:pt x="0" y="1203"/>
                </a:lnTo>
                <a:lnTo>
                  <a:pt x="8873126" y="1203"/>
                </a:lnTo>
                <a:lnTo>
                  <a:pt x="8873126" y="1200"/>
                </a:lnTo>
                <a:lnTo>
                  <a:pt x="8978977" y="12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it-IT" noProof="0"/>
              <a:t>Fare clic sull'icona per inserire un'immagine</a:t>
            </a:r>
            <a:endParaRPr lang="en-US" noProof="0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659E58B-E05D-4182-9EE3-191308B48A88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3138422"/>
            <a:ext cx="1823249" cy="1823249"/>
          </a:xfrm>
          <a:prstGeom prst="snip2DiagRect">
            <a:avLst>
              <a:gd name="adj1" fmla="val 12272"/>
              <a:gd name="adj2" fmla="val 0"/>
            </a:avLst>
          </a:prstGeom>
          <a:solidFill>
            <a:schemeClr val="accent1"/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65299" y="3138422"/>
            <a:ext cx="1825200" cy="1825200"/>
          </a:xfrm>
          <a:prstGeom prst="snip2DiagRect">
            <a:avLst>
              <a:gd name="adj1" fmla="val 12040"/>
              <a:gd name="adj2" fmla="val 0"/>
            </a:avLst>
          </a:prstGeom>
          <a:solidFill>
            <a:schemeClr val="accent2"/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2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772549" y="3138422"/>
            <a:ext cx="1825200" cy="1825200"/>
          </a:xfrm>
          <a:prstGeom prst="snip2DiagRect">
            <a:avLst>
              <a:gd name="adj1" fmla="val 12254"/>
              <a:gd name="adj2" fmla="val 0"/>
            </a:avLst>
          </a:prstGeom>
          <a:solidFill>
            <a:schemeClr val="accent3"/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3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979800" y="3138422"/>
            <a:ext cx="1825200" cy="1825200"/>
          </a:xfrm>
          <a:prstGeom prst="snip2DiagRect">
            <a:avLst>
              <a:gd name="adj1" fmla="val 12254"/>
              <a:gd name="adj2" fmla="val 0"/>
            </a:avLst>
          </a:prstGeom>
          <a:solidFill>
            <a:schemeClr val="accent4"/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4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360000" y="4332965"/>
            <a:ext cx="628706" cy="628706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2565299" y="4333622"/>
            <a:ext cx="630000" cy="63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4772549" y="4333622"/>
            <a:ext cx="630000" cy="63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61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979800" y="4333622"/>
            <a:ext cx="630000" cy="63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grpSp>
        <p:nvGrpSpPr>
          <p:cNvPr id="46" name="Group 45"/>
          <p:cNvGrpSpPr/>
          <p:nvPr/>
        </p:nvGrpSpPr>
        <p:grpSpPr bwMode="gray">
          <a:xfrm>
            <a:off x="9286875" y="182684"/>
            <a:ext cx="1581150" cy="3229876"/>
            <a:chOff x="9286875" y="182684"/>
            <a:chExt cx="1581150" cy="3229876"/>
          </a:xfrm>
        </p:grpSpPr>
        <p:sp>
          <p:nvSpPr>
            <p:cNvPr id="47" name="Rectangle 46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Click</a:t>
              </a:r>
              <a:r>
                <a:rPr lang="en-US" sz="9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900" b="0" baseline="0" dirty="0">
                  <a:solidFill>
                    <a:schemeClr val="tx1"/>
                  </a:solidFill>
                </a:rPr>
              </a:br>
              <a:r>
                <a:rPr lang="en-US" sz="9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9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900" b="0" dirty="0">
                <a:solidFill>
                  <a:schemeClr val="tx1"/>
                </a:solidFill>
              </a:endParaRPr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57" name="Rectangle 56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74" name="Rectangle 73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9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75" name="Straight Arrow Connector 74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>
              <a:stCxn id="49" idx="0"/>
              <a:endCxn id="49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>
              <a:stCxn id="49" idx="3"/>
              <a:endCxn id="49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Oval 79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  <p:sp>
        <p:nvSpPr>
          <p:cNvPr id="40" name="Text Placeholder 39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0" y="-221258"/>
            <a:ext cx="36000" cy="36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0000" y="334800"/>
            <a:ext cx="4428000" cy="946958"/>
          </a:xfrm>
          <a:solidFill>
            <a:schemeClr val="bg1">
              <a:alpha val="90000"/>
            </a:schemeClr>
          </a:solidFill>
        </p:spPr>
        <p:txBody>
          <a:bodyPr wrap="square" lIns="108000" tIns="126000" rIns="72000" bIns="126000" anchor="t" anchorCtr="0">
            <a:spAutoFit/>
          </a:bodyPr>
          <a:lstStyle>
            <a:lvl1pPr>
              <a:defRPr sz="2500"/>
            </a:lvl1pPr>
          </a:lstStyle>
          <a:p>
            <a:r>
              <a:rPr lang="it-IT"/>
              <a:t>Fare clic per modificare lo stile del titolo dello schema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050248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bra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2913E7E-25A6-4E66-B903-C1A3BC2454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63"/>
          <a:stretch/>
        </p:blipFill>
        <p:spPr>
          <a:xfrm>
            <a:off x="0" y="0"/>
            <a:ext cx="9144000" cy="6542716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68D431B-38A0-488D-B678-7CF98BF4E03A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F4D1607C-DE43-4D59-8B6B-86EA91CA74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5" y="315057"/>
            <a:ext cx="2376000" cy="34917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90E2F798-1608-664E-8041-E1E82F7CAE94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76695" y="4420720"/>
            <a:ext cx="8316000" cy="976570"/>
            <a:chOff x="280443" y="2736274"/>
            <a:chExt cx="7970554" cy="93600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0BD4940-5313-1741-937D-58D08166F8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7046479" y="3120140"/>
              <a:ext cx="1204518" cy="425195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A3C5CF0-75B7-E745-966D-2260E720BD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907184" y="2854901"/>
              <a:ext cx="1145169" cy="698747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116F118-D7AA-BD42-9427-89673B44C5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5108919" y="3181378"/>
              <a:ext cx="1688041" cy="212906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EA69DFF8-C1BF-B243-8BF7-1709369AEF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3327631" y="2881885"/>
              <a:ext cx="1570405" cy="778128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97EFC55B-9686-4F46-9174-1FB43962F0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280443" y="2736274"/>
              <a:ext cx="1377221" cy="93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779145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2DE61928-3E1E-4B09-8733-29D3DA977196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grpSp>
        <p:nvGrpSpPr>
          <p:cNvPr id="33" name="Group 32"/>
          <p:cNvGrpSpPr/>
          <p:nvPr/>
        </p:nvGrpSpPr>
        <p:grpSpPr bwMode="gray">
          <a:xfrm>
            <a:off x="0" y="6243917"/>
            <a:ext cx="9144000" cy="614084"/>
            <a:chOff x="0" y="4682937"/>
            <a:chExt cx="9144000" cy="460563"/>
          </a:xfrm>
        </p:grpSpPr>
        <p:sp>
          <p:nvSpPr>
            <p:cNvPr id="34" name="Rectangle 33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noProof="0"/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36" name="Pentagon 28"/>
          <p:cNvSpPr/>
          <p:nvPr/>
        </p:nvSpPr>
        <p:spPr bwMode="gray">
          <a:xfrm>
            <a:off x="-1" y="6243917"/>
            <a:ext cx="804523" cy="614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3718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  <p:grpSp>
        <p:nvGrpSpPr>
          <p:cNvPr id="27" name="Group 26"/>
          <p:cNvGrpSpPr/>
          <p:nvPr/>
        </p:nvGrpSpPr>
        <p:grpSpPr bwMode="gray">
          <a:xfrm>
            <a:off x="-1591365" y="338781"/>
            <a:ext cx="1531557" cy="840729"/>
            <a:chOff x="-720001" y="254084"/>
            <a:chExt cx="1080000" cy="630547"/>
          </a:xfrm>
        </p:grpSpPr>
        <p:cxnSp>
          <p:nvCxnSpPr>
            <p:cNvPr id="28" name="Straight Connector 27"/>
            <p:cNvCxnSpPr/>
            <p:nvPr/>
          </p:nvCxnSpPr>
          <p:spPr bwMode="gray">
            <a:xfrm>
              <a:off x="-720001" y="884631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 bwMode="gray">
            <a:xfrm>
              <a:off x="-720001" y="254084"/>
              <a:ext cx="108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/>
          <p:cNvSpPr/>
          <p:nvPr/>
        </p:nvSpPr>
        <p:spPr bwMode="gray">
          <a:xfrm>
            <a:off x="-1499807" y="338779"/>
            <a:ext cx="1313433" cy="840728"/>
          </a:xfrm>
          <a:prstGeom prst="rect">
            <a:avLst/>
          </a:prstGeom>
          <a:solidFill>
            <a:schemeClr val="bg2">
              <a:lumMod val="60000"/>
              <a:lumOff val="4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144000" bIns="72000" rtlCol="0" anchor="b" anchorCtr="0">
            <a:noAutofit/>
          </a:bodyPr>
          <a:lstStyle/>
          <a:p>
            <a:pPr algn="l"/>
            <a:r>
              <a:rPr lang="en-US" sz="1000" b="0">
                <a:solidFill>
                  <a:schemeClr val="tx1"/>
                </a:solidFill>
              </a:rPr>
              <a:t>Title area</a:t>
            </a:r>
          </a:p>
          <a:p>
            <a:pPr algn="l"/>
            <a:r>
              <a:rPr lang="en-US" sz="1000" b="0">
                <a:solidFill>
                  <a:schemeClr val="tx1"/>
                </a:solidFill>
              </a:rPr>
              <a:t>max over 2 lines</a:t>
            </a:r>
            <a:endParaRPr lang="en-US" sz="1000" b="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 bwMode="gray">
          <a:xfrm>
            <a:off x="-1560948" y="5971352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Insert Topic Icon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Click on the picture icon and </a:t>
            </a:r>
            <a:r>
              <a:rPr lang="en-US" sz="9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900" b="0" baseline="0">
                <a:solidFill>
                  <a:schemeClr val="tx1"/>
                </a:solidFill>
              </a:rPr>
              <a:t>the Topic Icons</a:t>
            </a:r>
            <a:endParaRPr lang="en-US" sz="900" b="0" dirty="0">
              <a:solidFill>
                <a:schemeClr val="tx1"/>
              </a:solidFill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DE5B396-45A1-4B11-B1CE-C8FA71559A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5" y="315057"/>
            <a:ext cx="2376000" cy="34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1572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46A55B5-53AD-4180-86C2-0E1138A8BE4E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grpSp>
        <p:nvGrpSpPr>
          <p:cNvPr id="16" name="Group 33">
            <a:extLst>
              <a:ext uri="{FF2B5EF4-FFF2-40B4-BE49-F238E27FC236}">
                <a16:creationId xmlns:a16="http://schemas.microsoft.com/office/drawing/2014/main" id="{4B54B420-82AD-4279-8921-557D8BBD554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6419362" y="315284"/>
            <a:ext cx="2372214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9" name="Freeform 61">
              <a:extLst>
                <a:ext uri="{FF2B5EF4-FFF2-40B4-BE49-F238E27FC236}">
                  <a16:creationId xmlns:a16="http://schemas.microsoft.com/office/drawing/2014/main" id="{3F827DE5-53B5-4B9F-9F34-A5B0CAF2449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25">
              <a:extLst>
                <a:ext uri="{FF2B5EF4-FFF2-40B4-BE49-F238E27FC236}">
                  <a16:creationId xmlns:a16="http://schemas.microsoft.com/office/drawing/2014/main" id="{E9156F70-1FD3-4A2C-9991-796784310852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26">
              <a:extLst>
                <a:ext uri="{FF2B5EF4-FFF2-40B4-BE49-F238E27FC236}">
                  <a16:creationId xmlns:a16="http://schemas.microsoft.com/office/drawing/2014/main" id="{FC358EE7-B835-4143-8EC8-DC99B349C4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27">
              <a:extLst>
                <a:ext uri="{FF2B5EF4-FFF2-40B4-BE49-F238E27FC236}">
                  <a16:creationId xmlns:a16="http://schemas.microsoft.com/office/drawing/2014/main" id="{B4AAB87C-4274-4538-82D5-535D2AE1B3B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28">
              <a:extLst>
                <a:ext uri="{FF2B5EF4-FFF2-40B4-BE49-F238E27FC236}">
                  <a16:creationId xmlns:a16="http://schemas.microsoft.com/office/drawing/2014/main" id="{9BE11946-4DD6-488B-8E04-F95080005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29">
              <a:extLst>
                <a:ext uri="{FF2B5EF4-FFF2-40B4-BE49-F238E27FC236}">
                  <a16:creationId xmlns:a16="http://schemas.microsoft.com/office/drawing/2014/main" id="{5CD3E00B-7C93-4B24-B038-422B9B68135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30">
              <a:extLst>
                <a:ext uri="{FF2B5EF4-FFF2-40B4-BE49-F238E27FC236}">
                  <a16:creationId xmlns:a16="http://schemas.microsoft.com/office/drawing/2014/main" id="{21B8C122-179D-4410-84DE-64149D45A5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Freeform 31">
              <a:extLst>
                <a:ext uri="{FF2B5EF4-FFF2-40B4-BE49-F238E27FC236}">
                  <a16:creationId xmlns:a16="http://schemas.microsoft.com/office/drawing/2014/main" id="{6FE2B658-CE54-4874-BAAB-33088103AA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32">
              <a:extLst>
                <a:ext uri="{FF2B5EF4-FFF2-40B4-BE49-F238E27FC236}">
                  <a16:creationId xmlns:a16="http://schemas.microsoft.com/office/drawing/2014/main" id="{359DC81F-ACDD-4246-BA44-5CAE085B70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33">
              <a:extLst>
                <a:ext uri="{FF2B5EF4-FFF2-40B4-BE49-F238E27FC236}">
                  <a16:creationId xmlns:a16="http://schemas.microsoft.com/office/drawing/2014/main" id="{2311346F-F93F-4F8D-8FB4-2411C34070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43" name="Media Placeholder 42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-1200"/>
            <a:ext cx="9144001" cy="6859200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 dirty="0">
              <a:solidFill>
                <a:schemeClr val="tx1"/>
              </a:solidFill>
            </a:endParaRP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84EE702B-3170-4653-B7F3-A1BE97C859CC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416675" y="315354"/>
            <a:ext cx="2376000" cy="34737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0396999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88BE9E59-0AE8-443A-BD2E-196E024375DC}"/>
              </a:ext>
            </a:extLst>
          </p:cNvPr>
          <p:cNvGrpSpPr/>
          <p:nvPr userDrawn="1"/>
        </p:nvGrpSpPr>
        <p:grpSpPr>
          <a:xfrm>
            <a:off x="0" y="0"/>
            <a:ext cx="9144001" cy="6858000"/>
            <a:chOff x="-1" y="0"/>
            <a:chExt cx="9144001" cy="685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D9A4EBE-FF89-4E52-8835-76192605139C}"/>
                </a:ext>
              </a:extLst>
            </p:cNvPr>
            <p:cNvSpPr/>
            <p:nvPr userDrawn="1"/>
          </p:nvSpPr>
          <p:spPr>
            <a:xfrm>
              <a:off x="8801100" y="0"/>
              <a:ext cx="342900" cy="68580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F8BAF0A-4DA9-4A56-A0EF-B10651025F07}"/>
                </a:ext>
              </a:extLst>
            </p:cNvPr>
            <p:cNvSpPr/>
            <p:nvPr userDrawn="1"/>
          </p:nvSpPr>
          <p:spPr>
            <a:xfrm>
              <a:off x="-1" y="0"/>
              <a:ext cx="6411481" cy="68580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5B996A5-C84F-4CF0-8060-E62CD3B77F7C}"/>
                </a:ext>
              </a:extLst>
            </p:cNvPr>
            <p:cNvSpPr/>
            <p:nvPr userDrawn="1"/>
          </p:nvSpPr>
          <p:spPr>
            <a:xfrm>
              <a:off x="6411482" y="0"/>
              <a:ext cx="2386800" cy="68580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/>
            </a:p>
          </p:txBody>
        </p:sp>
      </p:grp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AA6B3380-711F-4F7E-B1FE-D0FB7D1C6503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 dirty="0">
              <a:solidFill>
                <a:schemeClr val="tx1"/>
              </a:solidFill>
            </a:endParaRPr>
          </a:p>
        </p:txBody>
      </p:sp>
      <p:sp>
        <p:nvSpPr>
          <p:cNvPr id="43" name="Media Placeholder 42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-600"/>
            <a:ext cx="9144001" cy="68592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BC73EA0-6D77-43B9-AD48-D9B8193537C9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6416675" y="315354"/>
            <a:ext cx="2376000" cy="34737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0490206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vie without AkzoNobel logo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771ED7F-545F-4836-8FA1-19672DC37DD8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Movie </a:t>
            </a:r>
            <a:endParaRPr lang="en-US" dirty="0"/>
          </a:p>
          <a:p>
            <a:r>
              <a:rPr lang="en-US"/>
              <a:t>(in WMV format for Windows platform)</a:t>
            </a:r>
            <a:endParaRPr lang="en-US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Rectangle 3"/>
          <p:cNvSpPr/>
          <p:nvPr/>
        </p:nvSpPr>
        <p:spPr bwMode="gray">
          <a:xfrm>
            <a:off x="9288780" y="182684"/>
            <a:ext cx="1501140" cy="132610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Supported format for the</a:t>
            </a:r>
            <a:r>
              <a:rPr lang="en-US" sz="900" b="1" baseline="0">
                <a:solidFill>
                  <a:schemeClr val="tx1"/>
                </a:solidFill>
              </a:rPr>
              <a:t> Windows platform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900" b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MP4</a:t>
            </a:r>
            <a:r>
              <a:rPr lang="en-US" sz="9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900" b="0" baseline="0">
                <a:solidFill>
                  <a:schemeClr val="tx1"/>
                </a:solidFill>
              </a:rPr>
              <a:t>QT Player</a:t>
            </a:r>
            <a:endParaRPr lang="en-US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260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D174841-31BD-49E0-BAF6-9C9ECEAEA1D1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810164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81742552-E85F-4C72-9E2B-F74716CF01D7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0000" y="2338075"/>
            <a:ext cx="8431576" cy="3675377"/>
          </a:xfrm>
        </p:spPr>
        <p:txBody>
          <a:bodyPr anchor="t" anchorCtr="0"/>
          <a:lstStyle>
            <a:lvl1pPr>
              <a:lnSpc>
                <a:spcPct val="80000"/>
              </a:lnSpc>
              <a:defRPr sz="9000" b="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0E8923D-4D8D-481D-A8DC-D1BCC98666C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0803" y="2404800"/>
            <a:ext cx="4453197" cy="4453200"/>
            <a:chOff x="5666400" y="3380398"/>
            <a:chExt cx="3477600" cy="3477602"/>
          </a:xfrm>
        </p:grpSpPr>
        <p:sp>
          <p:nvSpPr>
            <p:cNvPr id="25" name="Right Triangle 24">
              <a:extLst>
                <a:ext uri="{FF2B5EF4-FFF2-40B4-BE49-F238E27FC236}">
                  <a16:creationId xmlns:a16="http://schemas.microsoft.com/office/drawing/2014/main" id="{A4701667-6A9A-462E-884A-5F2CADA3CDCE}"/>
                </a:ext>
              </a:extLst>
            </p:cNvPr>
            <p:cNvSpPr>
              <a:spLocks noChangeAspect="1"/>
            </p:cNvSpPr>
            <p:nvPr userDrawn="1"/>
          </p:nvSpPr>
          <p:spPr>
            <a:xfrm rot="5400000" flipH="1" flipV="1">
              <a:off x="5666399" y="3380399"/>
              <a:ext cx="3477602" cy="3477600"/>
            </a:xfrm>
            <a:prstGeom prst="rtTriangl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dirty="0" err="1"/>
            </a:p>
          </p:txBody>
        </p:sp>
        <p:sp>
          <p:nvSpPr>
            <p:cNvPr id="26" name="Right Triangle 25">
              <a:extLst>
                <a:ext uri="{FF2B5EF4-FFF2-40B4-BE49-F238E27FC236}">
                  <a16:creationId xmlns:a16="http://schemas.microsoft.com/office/drawing/2014/main" id="{E9F251AA-DC3F-42FF-8D8B-C23E29214EEA}"/>
                </a:ext>
              </a:extLst>
            </p:cNvPr>
            <p:cNvSpPr>
              <a:spLocks noChangeAspect="1"/>
            </p:cNvSpPr>
            <p:nvPr userDrawn="1"/>
          </p:nvSpPr>
          <p:spPr>
            <a:xfrm rot="5400000" flipH="1" flipV="1">
              <a:off x="6825599" y="4539599"/>
              <a:ext cx="2318401" cy="2318400"/>
            </a:xfrm>
            <a:prstGeom prst="rtTriangle">
              <a:avLst/>
            </a:prstGeom>
            <a:solidFill>
              <a:schemeClr val="bg1">
                <a:alpha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dirty="0" err="1"/>
            </a:p>
          </p:txBody>
        </p:sp>
        <p:sp>
          <p:nvSpPr>
            <p:cNvPr id="27" name="Right Triangle 26">
              <a:extLst>
                <a:ext uri="{FF2B5EF4-FFF2-40B4-BE49-F238E27FC236}">
                  <a16:creationId xmlns:a16="http://schemas.microsoft.com/office/drawing/2014/main" id="{CB809EC2-BAEF-4E16-B012-3638E74D9C7C}"/>
                </a:ext>
              </a:extLst>
            </p:cNvPr>
            <p:cNvSpPr>
              <a:spLocks noChangeAspect="1"/>
            </p:cNvSpPr>
            <p:nvPr userDrawn="1"/>
          </p:nvSpPr>
          <p:spPr>
            <a:xfrm rot="5400000" flipH="1" flipV="1">
              <a:off x="7984799" y="5698799"/>
              <a:ext cx="1159201" cy="11592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dirty="0" err="1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22FEE704-A6C6-4BFF-90BA-510DA20BC1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5" y="315057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70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speaker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E6BB7F1E-0E83-41D0-BA0D-BF5A3A72F17C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sp>
        <p:nvSpPr>
          <p:cNvPr id="45" name="Rechthoek 1"/>
          <p:cNvSpPr/>
          <p:nvPr/>
        </p:nvSpPr>
        <p:spPr bwMode="gray">
          <a:xfrm>
            <a:off x="352425" y="2084919"/>
            <a:ext cx="8439150" cy="235926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endParaRPr lang="nl-NL" sz="2400" dirty="0" err="1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6476283" y="2084919"/>
            <a:ext cx="2315292" cy="2359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pic>
        <p:nvPicPr>
          <p:cNvPr id="43" name="Picture 42" descr="Portret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784329" y="2743463"/>
            <a:ext cx="1699200" cy="1699200"/>
          </a:xfrm>
          <a:prstGeom prst="rect">
            <a:avLst/>
          </a:prstGeom>
        </p:spPr>
      </p:pic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7" imgH="357" progId="TCLayout.ActiveDocument.1">
                  <p:embed/>
                </p:oleObj>
              </mc:Choice>
              <mc:Fallback>
                <p:oleObj name="think-cell Slide" r:id="rId4" imgW="357" imgH="357" progId="TCLayout.ActiveDocument.1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itle 52"/>
          <p:cNvSpPr>
            <a:spLocks noGrp="1"/>
          </p:cNvSpPr>
          <p:nvPr>
            <p:ph type="title" hasCustomPrompt="1"/>
          </p:nvPr>
        </p:nvSpPr>
        <p:spPr bwMode="gray">
          <a:xfrm>
            <a:off x="352425" y="2084919"/>
            <a:ext cx="6123858" cy="2359263"/>
          </a:xfrm>
        </p:spPr>
        <p:txBody>
          <a:bodyPr lIns="298800" tIns="118800" rIns="118800" bIns="93600" anchor="t" anchorCtr="0">
            <a:noAutofit/>
          </a:bodyPr>
          <a:lstStyle>
            <a:lvl1pPr>
              <a:lnSpc>
                <a:spcPct val="90000"/>
              </a:lnSpc>
              <a:defRPr sz="5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476283" y="2084919"/>
            <a:ext cx="2315292" cy="2359263"/>
          </a:xfrm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10B17BF-1856-4034-A313-38204D70C4E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5" y="315057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838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 speakers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A7548B85-62E4-4A1F-AB82-AD429E0A1123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548933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5600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7" name="Picture Placehold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701856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78" name="Text Placeholder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505349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9" name="Picture Placeholder 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4854779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0" name="Text Placehold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658272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81" name="Picture Placeholder 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7007701" y="1181099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2" name="Text Placeholder 5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814368" y="3057056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0" name="Picture Placeholder 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548933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1" name="Text Placeholder 5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55600" y="5584527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2" name="Picture Placeholder 3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2701856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3" name="Text Placehold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505349" y="5584525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4" name="Picture Placeholder 3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854779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5" name="Text Placeholder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658272" y="5584527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6" name="Picture Placeholder 3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7007701" y="3708570"/>
            <a:ext cx="1587367" cy="1827877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7" name="Text Placehold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14368" y="5584527"/>
            <a:ext cx="1974032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3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365BCC1D-B110-49EA-836C-E7CC1FAB90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5" y="315057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8031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Slide Option 1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7DF54F0-45AD-4AB7-874B-FBEE76E1AD57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sp>
        <p:nvSpPr>
          <p:cNvPr id="83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358777" y="5195149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94" name="Text Placeholder 9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52427" y="5195149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80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358777" y="4266846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93" name="Text Placeholder 92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52427" y="4266846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7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358777" y="3338543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92" name="Text Placeholder 9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52427" y="3338543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358777" y="2410241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91" name="Text Placeholder 90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2427" y="2410241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358777" y="1481938"/>
            <a:ext cx="8432799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908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Text Placeholder 88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2427" y="1481938"/>
            <a:ext cx="1786870" cy="826145"/>
          </a:xfrm>
          <a:custGeom>
            <a:avLst/>
            <a:gdLst>
              <a:gd name="connsiteX0" fmla="*/ 0 w 1786870"/>
              <a:gd name="connsiteY0" fmla="*/ 0 h 619609"/>
              <a:gd name="connsiteX1" fmla="*/ 1477066 w 1786870"/>
              <a:gd name="connsiteY1" fmla="*/ 0 h 619609"/>
              <a:gd name="connsiteX2" fmla="*/ 1786870 w 1786870"/>
              <a:gd name="connsiteY2" fmla="*/ 309805 h 619609"/>
              <a:gd name="connsiteX3" fmla="*/ 1477066 w 1786870"/>
              <a:gd name="connsiteY3" fmla="*/ 619609 h 619609"/>
              <a:gd name="connsiteX4" fmla="*/ 0 w 1786870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86870" h="619609">
                <a:moveTo>
                  <a:pt x="0" y="0"/>
                </a:moveTo>
                <a:lnTo>
                  <a:pt x="1477066" y="0"/>
                </a:lnTo>
                <a:lnTo>
                  <a:pt x="1786870" y="309805"/>
                </a:lnTo>
                <a:lnTo>
                  <a:pt x="1477066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84055" y="1610296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76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84055" y="2538599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9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84055" y="3466902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2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84055" y="4395205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5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884055" y="5323507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271D7EE-025D-44EF-94E5-6C8AC9194795}" type="slidenum">
              <a:rPr lang="en-GB" smtClean="0"/>
              <a:pPr/>
              <a:t>‹N›</a:t>
            </a:fld>
            <a:endParaRPr lang="en-GB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DE0E86B3-C87E-480E-BDBF-D6D0410304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5" y="315057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2751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3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3EC81809-C3A5-436B-84B5-F5769F662891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358777" y="1481937"/>
            <a:ext cx="4142957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116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ext Placeholder 12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58777" y="1481937"/>
            <a:ext cx="1044000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68995" y="1610294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›</a:t>
            </a:fld>
            <a:endParaRPr lang="en-US" dirty="0"/>
          </a:p>
        </p:txBody>
      </p:sp>
      <p:sp>
        <p:nvSpPr>
          <p:cNvPr id="186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358777" y="2410240"/>
            <a:ext cx="4142957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116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87" name="Text Placeholder 186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8777" y="2410240"/>
            <a:ext cx="1044000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188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68995" y="2538596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11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358777" y="3338542"/>
            <a:ext cx="4142957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116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12" name="Text Placeholder 21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58777" y="3338542"/>
            <a:ext cx="1044000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13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68995" y="3466899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33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358777" y="4266845"/>
            <a:ext cx="4142957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116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34" name="Text Placeholder 23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58777" y="4266845"/>
            <a:ext cx="1044000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35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468995" y="4395202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2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358777" y="5195148"/>
            <a:ext cx="4142957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116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53" name="Text Placeholder 252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58777" y="5195148"/>
            <a:ext cx="1044000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54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468995" y="5323504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6" name="Text Placeholder 40"/>
          <p:cNvSpPr>
            <a:spLocks noGrp="1"/>
          </p:cNvSpPr>
          <p:nvPr>
            <p:ph type="body" sz="quarter" idx="42"/>
          </p:nvPr>
        </p:nvSpPr>
        <p:spPr bwMode="gray">
          <a:xfrm>
            <a:off x="4642269" y="1481937"/>
            <a:ext cx="4142957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116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7" name="Text Placeholder 278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4642269" y="1481937"/>
            <a:ext cx="1044000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78" name="Picture Placeholder 38"/>
          <p:cNvSpPr>
            <a:spLocks noGrp="1"/>
          </p:cNvSpPr>
          <p:nvPr>
            <p:ph type="pic" sz="quarter" idx="44" hasCustomPrompt="1"/>
          </p:nvPr>
        </p:nvSpPr>
        <p:spPr bwMode="gray">
          <a:xfrm>
            <a:off x="4752487" y="1610294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79" name="Text Placeholder 73"/>
          <p:cNvSpPr>
            <a:spLocks noGrp="1"/>
          </p:cNvSpPr>
          <p:nvPr>
            <p:ph type="body" sz="quarter" idx="40"/>
          </p:nvPr>
        </p:nvSpPr>
        <p:spPr bwMode="gray">
          <a:xfrm>
            <a:off x="4642269" y="2410240"/>
            <a:ext cx="4142957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116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0" name="Text Placeholder 29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642269" y="2410240"/>
            <a:ext cx="1044000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81" name="Picture Placeholder 75"/>
          <p:cNvSpPr>
            <a:spLocks noGrp="1"/>
          </p:cNvSpPr>
          <p:nvPr>
            <p:ph type="pic" sz="quarter" idx="45" hasCustomPrompt="1"/>
          </p:nvPr>
        </p:nvSpPr>
        <p:spPr bwMode="gray">
          <a:xfrm>
            <a:off x="4752487" y="2538596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2" name="Text Placeholder 76"/>
          <p:cNvSpPr>
            <a:spLocks noGrp="1"/>
          </p:cNvSpPr>
          <p:nvPr>
            <p:ph type="body" sz="quarter" idx="38"/>
          </p:nvPr>
        </p:nvSpPr>
        <p:spPr bwMode="gray">
          <a:xfrm>
            <a:off x="4642269" y="3338542"/>
            <a:ext cx="4142957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116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3" name="Text Placeholder 301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642269" y="3338542"/>
            <a:ext cx="1044000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84" name="Picture Placeholder 78"/>
          <p:cNvSpPr>
            <a:spLocks noGrp="1"/>
          </p:cNvSpPr>
          <p:nvPr>
            <p:ph type="pic" sz="quarter" idx="46" hasCustomPrompt="1"/>
          </p:nvPr>
        </p:nvSpPr>
        <p:spPr bwMode="gray">
          <a:xfrm>
            <a:off x="4752487" y="3466899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5" name="Text Placeholder 79"/>
          <p:cNvSpPr>
            <a:spLocks noGrp="1"/>
          </p:cNvSpPr>
          <p:nvPr>
            <p:ph type="body" sz="quarter" idx="36"/>
          </p:nvPr>
        </p:nvSpPr>
        <p:spPr bwMode="gray">
          <a:xfrm>
            <a:off x="4642269" y="4266845"/>
            <a:ext cx="4142957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152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6" name="Text Placeholder 308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642269" y="4266845"/>
            <a:ext cx="1044000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87" name="Picture Placeholder 81"/>
          <p:cNvSpPr>
            <a:spLocks noGrp="1"/>
          </p:cNvSpPr>
          <p:nvPr>
            <p:ph type="pic" sz="quarter" idx="47" hasCustomPrompt="1"/>
          </p:nvPr>
        </p:nvSpPr>
        <p:spPr bwMode="gray">
          <a:xfrm>
            <a:off x="4752487" y="4395202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88" name="Text Placeholder 82"/>
          <p:cNvSpPr>
            <a:spLocks noGrp="1"/>
          </p:cNvSpPr>
          <p:nvPr>
            <p:ph type="body" sz="quarter" idx="34"/>
          </p:nvPr>
        </p:nvSpPr>
        <p:spPr bwMode="gray">
          <a:xfrm>
            <a:off x="4642269" y="5195148"/>
            <a:ext cx="4142957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116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9" name="Text Placeholder 312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642269" y="5195148"/>
            <a:ext cx="1044000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90" name="Picture Placeholder 84"/>
          <p:cNvSpPr>
            <a:spLocks noGrp="1"/>
          </p:cNvSpPr>
          <p:nvPr>
            <p:ph type="pic" sz="quarter" idx="48" hasCustomPrompt="1"/>
          </p:nvPr>
        </p:nvSpPr>
        <p:spPr bwMode="gray">
          <a:xfrm>
            <a:off x="4752487" y="5323504"/>
            <a:ext cx="568800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9BF60C46-8C9F-4985-9FD5-8AE91CBEB84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5" y="315057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9376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7" name="Footer Placeholder 36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38" name="Slide Number Placeholder 37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 bwMode="gray">
          <a:xfrm>
            <a:off x="352426" y="1298829"/>
            <a:ext cx="8438400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6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  <p:sp>
        <p:nvSpPr>
          <p:cNvPr id="9" name="Picture Placeholder 13">
            <a:extLst>
              <a:ext uri="{FF2B5EF4-FFF2-40B4-BE49-F238E27FC236}">
                <a16:creationId xmlns:a16="http://schemas.microsoft.com/office/drawing/2014/main" id="{5B249B42-E092-4F27-9FDA-0BCCC3F6BB9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081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72" userDrawn="1">
          <p15:clr>
            <a:srgbClr val="FBAE40"/>
          </p15:clr>
        </p15:guide>
        <p15:guide id="2" pos="480" userDrawn="1">
          <p15:clr>
            <a:srgbClr val="FBAE40"/>
          </p15:clr>
        </p15:guide>
        <p15:guide id="3" orient="horz" pos="3592" userDrawn="1">
          <p15:clr>
            <a:srgbClr val="FBAE40"/>
          </p15:clr>
        </p15:guide>
        <p15:guide id="4" orient="horz" pos="100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4140000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4651575" y="1298829"/>
            <a:ext cx="4140000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19562" y="6358645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99067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Mixe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/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/>
          </p:nvPr>
        </p:nvSpPr>
        <p:spPr bwMode="gray">
          <a:xfrm>
            <a:off x="352425" y="1298829"/>
            <a:ext cx="2718000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18" name="Content Placeholder 16"/>
          <p:cNvSpPr>
            <a:spLocks noGrp="1"/>
          </p:cNvSpPr>
          <p:nvPr>
            <p:ph sz="quarter" idx="19"/>
          </p:nvPr>
        </p:nvSpPr>
        <p:spPr bwMode="gray">
          <a:xfrm>
            <a:off x="3213000" y="1298829"/>
            <a:ext cx="2718000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11" name="Content Placeholder 16"/>
          <p:cNvSpPr>
            <a:spLocks noGrp="1"/>
          </p:cNvSpPr>
          <p:nvPr>
            <p:ph sz="quarter" idx="20"/>
          </p:nvPr>
        </p:nvSpPr>
        <p:spPr bwMode="gray">
          <a:xfrm>
            <a:off x="6073575" y="1298829"/>
            <a:ext cx="2718000" cy="4704000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119562" y="6359459"/>
            <a:ext cx="3852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889962" y="6359459"/>
            <a:ext cx="2808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200">
                <a:solidFill>
                  <a:srgbClr val="B7B9BA"/>
                </a:solidFill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52425" y="6058344"/>
            <a:ext cx="8438400" cy="141064"/>
          </a:xfrm>
        </p:spPr>
        <p:txBody>
          <a:bodyPr anchor="b" anchorCtr="0">
            <a:spAutoFit/>
          </a:bodyPr>
          <a:lstStyle>
            <a:lvl1pPr>
              <a:lnSpc>
                <a:spcPts val="1067"/>
              </a:lnSpc>
              <a:spcBef>
                <a:spcPts val="0"/>
              </a:spcBef>
              <a:spcAft>
                <a:spcPts val="0"/>
              </a:spcAft>
              <a:tabLst>
                <a:tab pos="241294" algn="l"/>
              </a:tabLst>
              <a:defRPr sz="10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</a:t>
            </a:r>
            <a:r>
              <a:rPr lang="en-US"/>
              <a:t>edit Source </a:t>
            </a:r>
            <a:r>
              <a:rPr lang="en-US" dirty="0"/>
              <a:t>text styles Arial </a:t>
            </a:r>
            <a:r>
              <a:rPr lang="en-US"/>
              <a:t>Regular 10pt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312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6726E087-A557-4FA0-A54C-2A9EBF210CDD}"/>
              </a:ext>
            </a:extLst>
          </p:cNvPr>
          <p:cNvSpPr/>
          <p:nvPr userDrawn="1"/>
        </p:nvSpPr>
        <p:spPr>
          <a:xfrm>
            <a:off x="-1917700" y="-1625598"/>
            <a:ext cx="12979400" cy="10112373"/>
          </a:xfrm>
          <a:custGeom>
            <a:avLst/>
            <a:gdLst>
              <a:gd name="connsiteX0" fmla="*/ 10121900 w 12522200"/>
              <a:gd name="connsiteY0" fmla="*/ 0 h 10112373"/>
              <a:gd name="connsiteX1" fmla="*/ 12522200 w 12522200"/>
              <a:gd name="connsiteY1" fmla="*/ 0 h 10112373"/>
              <a:gd name="connsiteX2" fmla="*/ 12522200 w 12522200"/>
              <a:gd name="connsiteY2" fmla="*/ 546098 h 10112373"/>
              <a:gd name="connsiteX3" fmla="*/ 12522200 w 12522200"/>
              <a:gd name="connsiteY3" fmla="*/ 1628775 h 10112373"/>
              <a:gd name="connsiteX4" fmla="*/ 12522200 w 12522200"/>
              <a:gd name="connsiteY4" fmla="*/ 8483598 h 10112373"/>
              <a:gd name="connsiteX5" fmla="*/ 12522200 w 12522200"/>
              <a:gd name="connsiteY5" fmla="*/ 8724894 h 10112373"/>
              <a:gd name="connsiteX6" fmla="*/ 12522200 w 12522200"/>
              <a:gd name="connsiteY6" fmla="*/ 10112373 h 10112373"/>
              <a:gd name="connsiteX7" fmla="*/ 10832542 w 12522200"/>
              <a:gd name="connsiteY7" fmla="*/ 10112373 h 10112373"/>
              <a:gd name="connsiteX8" fmla="*/ 10121900 w 12522200"/>
              <a:gd name="connsiteY8" fmla="*/ 10112373 h 10112373"/>
              <a:gd name="connsiteX9" fmla="*/ 2298700 w 12522200"/>
              <a:gd name="connsiteY9" fmla="*/ 10112373 h 10112373"/>
              <a:gd name="connsiteX10" fmla="*/ 1689659 w 12522200"/>
              <a:gd name="connsiteY10" fmla="*/ 10112373 h 10112373"/>
              <a:gd name="connsiteX11" fmla="*/ 0 w 12522200"/>
              <a:gd name="connsiteY11" fmla="*/ 10112373 h 10112373"/>
              <a:gd name="connsiteX12" fmla="*/ 0 w 12522200"/>
              <a:gd name="connsiteY12" fmla="*/ 8483598 h 10112373"/>
              <a:gd name="connsiteX13" fmla="*/ 0 w 12522200"/>
              <a:gd name="connsiteY13" fmla="*/ 1628775 h 10112373"/>
              <a:gd name="connsiteX14" fmla="*/ 0 w 12522200"/>
              <a:gd name="connsiteY14" fmla="*/ 546098 h 10112373"/>
              <a:gd name="connsiteX15" fmla="*/ 0 w 12522200"/>
              <a:gd name="connsiteY15" fmla="*/ 0 h 10112373"/>
              <a:gd name="connsiteX16" fmla="*/ 1689659 w 12522200"/>
              <a:gd name="connsiteY16" fmla="*/ 0 h 10112373"/>
              <a:gd name="connsiteX17" fmla="*/ 2298700 w 12522200"/>
              <a:gd name="connsiteY17" fmla="*/ 0 h 10112373"/>
              <a:gd name="connsiteX18" fmla="*/ 10121900 w 12522200"/>
              <a:gd name="connsiteY18" fmla="*/ 0 h 1011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522200" h="10112373">
                <a:moveTo>
                  <a:pt x="10121900" y="0"/>
                </a:moveTo>
                <a:lnTo>
                  <a:pt x="12522200" y="0"/>
                </a:lnTo>
                <a:lnTo>
                  <a:pt x="12522200" y="546098"/>
                </a:lnTo>
                <a:lnTo>
                  <a:pt x="12522200" y="1628775"/>
                </a:lnTo>
                <a:lnTo>
                  <a:pt x="12522200" y="8483598"/>
                </a:lnTo>
                <a:lnTo>
                  <a:pt x="12522200" y="8724894"/>
                </a:lnTo>
                <a:lnTo>
                  <a:pt x="12522200" y="10112373"/>
                </a:lnTo>
                <a:lnTo>
                  <a:pt x="10832542" y="10112373"/>
                </a:lnTo>
                <a:lnTo>
                  <a:pt x="10121900" y="10112373"/>
                </a:lnTo>
                <a:lnTo>
                  <a:pt x="2298700" y="10112373"/>
                </a:lnTo>
                <a:lnTo>
                  <a:pt x="1689659" y="10112373"/>
                </a:lnTo>
                <a:lnTo>
                  <a:pt x="0" y="10112373"/>
                </a:lnTo>
                <a:lnTo>
                  <a:pt x="0" y="8483598"/>
                </a:lnTo>
                <a:lnTo>
                  <a:pt x="0" y="1628775"/>
                </a:lnTo>
                <a:lnTo>
                  <a:pt x="0" y="546098"/>
                </a:lnTo>
                <a:lnTo>
                  <a:pt x="0" y="0"/>
                </a:lnTo>
                <a:lnTo>
                  <a:pt x="1689659" y="0"/>
                </a:lnTo>
                <a:lnTo>
                  <a:pt x="2298700" y="0"/>
                </a:lnTo>
                <a:lnTo>
                  <a:pt x="1012190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r>
              <a:rPr lang="en-US" dirty="0"/>
              <a:t>                                 </a:t>
            </a:r>
          </a:p>
        </p:txBody>
      </p:sp>
      <p:grpSp>
        <p:nvGrpSpPr>
          <p:cNvPr id="4" name="Group 3"/>
          <p:cNvGrpSpPr/>
          <p:nvPr/>
        </p:nvGrpSpPr>
        <p:grpSpPr bwMode="gray">
          <a:xfrm>
            <a:off x="0" y="6243917"/>
            <a:ext cx="9144000" cy="614084"/>
            <a:chOff x="0" y="4682937"/>
            <a:chExt cx="9144000" cy="460563"/>
          </a:xfrm>
        </p:grpSpPr>
        <p:sp>
          <p:nvSpPr>
            <p:cNvPr id="43" name="Rectangle 42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noProof="0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1588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57" imgH="357" progId="">
                  <p:embed/>
                </p:oleObj>
              </mc:Choice>
              <mc:Fallback>
                <p:oleObj name="think-cell Slide" r:id="rId30" imgW="357" imgH="357" progId="">
                  <p:embed/>
                  <p:pic>
                    <p:nvPicPr>
                      <p:cNvPr id="46" name="Object 4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2425" y="195859"/>
            <a:ext cx="5868000" cy="960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426" y="1292480"/>
            <a:ext cx="8439150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  <a:endParaRPr lang="en-US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957694" y="6359459"/>
            <a:ext cx="2827532" cy="38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1219170" rtl="0" eaLnBrk="1" latinLnBrk="0" hangingPunct="1">
              <a:defRPr lang="en-US" sz="12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Business unit | Footer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791575" y="6359459"/>
            <a:ext cx="252000" cy="38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lvl1pPr marL="0" algn="r" defTabSz="1219170" rtl="0" eaLnBrk="1" latinLnBrk="0" hangingPunct="1">
              <a:defRPr lang="nl-NL" sz="12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fld id="{8271D7EE-025D-44EF-94E5-6C8AC9194795}" type="slidenum">
              <a:rPr lang="en-GB" smtClean="0"/>
              <a:t>‹N›</a:t>
            </a:fld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0B390E0-7371-4661-B4BF-63DF723F6C68}"/>
              </a:ext>
            </a:extLst>
          </p:cNvPr>
          <p:cNvGrpSpPr/>
          <p:nvPr userDrawn="1"/>
        </p:nvGrpSpPr>
        <p:grpSpPr>
          <a:xfrm>
            <a:off x="-1591365" y="338779"/>
            <a:ext cx="1531557" cy="840728"/>
            <a:chOff x="-1591365" y="338779"/>
            <a:chExt cx="1531557" cy="840728"/>
          </a:xfrm>
        </p:grpSpPr>
        <p:grpSp>
          <p:nvGrpSpPr>
            <p:cNvPr id="6" name="Group 5"/>
            <p:cNvGrpSpPr/>
            <p:nvPr/>
          </p:nvGrpSpPr>
          <p:grpSpPr bwMode="gray">
            <a:xfrm>
              <a:off x="-1591365" y="338781"/>
              <a:ext cx="1531557" cy="821679"/>
              <a:chOff x="-720001" y="254084"/>
              <a:chExt cx="1080000" cy="616259"/>
            </a:xfrm>
          </p:grpSpPr>
          <p:cxnSp>
            <p:nvCxnSpPr>
              <p:cNvPr id="78" name="Straight Connector 77"/>
              <p:cNvCxnSpPr/>
              <p:nvPr/>
            </p:nvCxnSpPr>
            <p:spPr bwMode="gray">
              <a:xfrm>
                <a:off x="-720001" y="870343"/>
                <a:ext cx="1080000" cy="0"/>
              </a:xfrm>
              <a:prstGeom prst="line">
                <a:avLst/>
              </a:prstGeom>
              <a:ln w="6350">
                <a:solidFill>
                  <a:srgbClr val="E4312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 bwMode="gray">
              <a:xfrm>
                <a:off x="-720001" y="254084"/>
                <a:ext cx="1080000" cy="0"/>
              </a:xfrm>
              <a:prstGeom prst="line">
                <a:avLst/>
              </a:prstGeom>
              <a:ln w="6350">
                <a:solidFill>
                  <a:srgbClr val="E4312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0" name="Rectangle 79"/>
            <p:cNvSpPr/>
            <p:nvPr/>
          </p:nvSpPr>
          <p:spPr bwMode="gray">
            <a:xfrm>
              <a:off x="-1499807" y="338779"/>
              <a:ext cx="1313433" cy="840728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72000" rIns="72000" bIns="72000" rtlCol="0" anchor="b" anchorCtr="0">
              <a:noAutofit/>
            </a:bodyPr>
            <a:lstStyle/>
            <a:p>
              <a:pPr algn="l"/>
              <a:r>
                <a:rPr lang="en-US" sz="1000" b="0">
                  <a:solidFill>
                    <a:schemeClr val="tx1"/>
                  </a:solidFill>
                </a:rPr>
                <a:t>Title area</a:t>
              </a:r>
            </a:p>
            <a:p>
              <a:pPr algn="l"/>
              <a:r>
                <a:rPr lang="en-US" sz="1000" b="0">
                  <a:solidFill>
                    <a:schemeClr val="tx1"/>
                  </a:solidFill>
                </a:rPr>
                <a:t>max over 2 lines</a:t>
              </a:r>
              <a:endParaRPr lang="en-US" sz="1000" b="0" dirty="0">
                <a:solidFill>
                  <a:schemeClr val="tx1"/>
                </a:solidFill>
              </a:endParaRPr>
            </a:p>
          </p:txBody>
        </p:sp>
      </p:grpSp>
      <p:sp>
        <p:nvSpPr>
          <p:cNvPr id="122" name="Pentagon 28"/>
          <p:cNvSpPr/>
          <p:nvPr/>
        </p:nvSpPr>
        <p:spPr bwMode="gray">
          <a:xfrm>
            <a:off x="0" y="6243917"/>
            <a:ext cx="804523" cy="614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0" bIns="0" rtlCol="0" anchor="ctr" anchorCtr="0"/>
          <a:lstStyle/>
          <a:p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6" name="Rectangle 55"/>
          <p:cNvSpPr/>
          <p:nvPr/>
        </p:nvSpPr>
        <p:spPr bwMode="gray">
          <a:xfrm>
            <a:off x="-1560948" y="5971352"/>
            <a:ext cx="1501140" cy="77210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36000" bIns="108000" rtlCol="0" anchor="t" anchorCtr="0">
            <a:spAutoFit/>
          </a:bodyPr>
          <a:lstStyle/>
          <a:p>
            <a:pPr algn="l"/>
            <a:r>
              <a:rPr lang="en-US" sz="900" b="1">
                <a:solidFill>
                  <a:schemeClr val="tx1"/>
                </a:solidFill>
              </a:rPr>
              <a:t>Insert Topic Icons</a:t>
            </a:r>
            <a:endParaRPr lang="en-US" sz="900" b="1" dirty="0">
              <a:solidFill>
                <a:schemeClr val="tx1"/>
              </a:solidFill>
            </a:endParaRPr>
          </a:p>
          <a:p>
            <a:pPr algn="l"/>
            <a:r>
              <a:rPr lang="en-US" sz="900" b="0">
                <a:solidFill>
                  <a:schemeClr val="tx1"/>
                </a:solidFill>
              </a:rPr>
              <a:t>Click on the picture icon and </a:t>
            </a:r>
            <a:r>
              <a:rPr lang="en-US" sz="9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900" b="0" baseline="0">
                <a:solidFill>
                  <a:schemeClr val="tx1"/>
                </a:solidFill>
              </a:rPr>
              <a:t>the Topic Icons</a:t>
            </a:r>
            <a:endParaRPr lang="en-US" sz="900" b="0" dirty="0">
              <a:solidFill>
                <a:schemeClr val="tx1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822166F-59BB-4762-B038-8FA49C346423}"/>
              </a:ext>
            </a:extLst>
          </p:cNvPr>
          <p:cNvGrpSpPr/>
          <p:nvPr userDrawn="1"/>
        </p:nvGrpSpPr>
        <p:grpSpPr>
          <a:xfrm>
            <a:off x="-1591365" y="1405512"/>
            <a:ext cx="1531557" cy="1802493"/>
            <a:chOff x="-1591365" y="1405512"/>
            <a:chExt cx="1531557" cy="1802493"/>
          </a:xfrm>
        </p:grpSpPr>
        <p:sp>
          <p:nvSpPr>
            <p:cNvPr id="57" name="Rectangle 56"/>
            <p:cNvSpPr/>
            <p:nvPr/>
          </p:nvSpPr>
          <p:spPr bwMode="gray">
            <a:xfrm>
              <a:off x="-1591365" y="1405512"/>
              <a:ext cx="1531557" cy="1802493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8000" bIns="108000" rtlCol="0" anchor="b" anchorCtr="0">
              <a:noAutofit/>
            </a:bodyPr>
            <a:lstStyle/>
            <a:p>
              <a:pPr algn="l"/>
              <a:r>
                <a:rPr lang="en-US" sz="900" b="1">
                  <a:solidFill>
                    <a:schemeClr val="tx1"/>
                  </a:solidFill>
                </a:rPr>
                <a:t>AkzoNobel Bullets</a:t>
              </a:r>
              <a:endParaRPr lang="en-US" sz="900" b="1" dirty="0">
                <a:solidFill>
                  <a:schemeClr val="tx1"/>
                </a:solidFill>
              </a:endParaRPr>
            </a:p>
            <a:p>
              <a:pPr algn="l"/>
              <a:r>
                <a:rPr lang="en-US" sz="900" b="0">
                  <a:solidFill>
                    <a:schemeClr val="tx1"/>
                  </a:solidFill>
                </a:rPr>
                <a:t>Only use the </a:t>
              </a:r>
              <a:r>
                <a:rPr lang="en-US" sz="900" b="0" u="sng">
                  <a:solidFill>
                    <a:schemeClr val="tx1"/>
                  </a:solidFill>
                </a:rPr>
                <a:t>List Level buttons</a:t>
              </a:r>
              <a:r>
                <a:rPr lang="en-US" sz="900" b="0">
                  <a:solidFill>
                    <a:schemeClr val="tx1"/>
                  </a:solidFill>
                </a:rPr>
                <a:t> to apply the</a:t>
              </a:r>
              <a:r>
                <a:rPr lang="en-US" sz="900" b="0" baseline="0">
                  <a:solidFill>
                    <a:schemeClr val="tx1"/>
                  </a:solidFill>
                </a:rPr>
                <a:t> </a:t>
              </a:r>
              <a:r>
                <a:rPr lang="en-US" sz="900" b="0" i="0" u="none" baseline="0">
                  <a:solidFill>
                    <a:schemeClr val="tx1"/>
                  </a:solidFill>
                </a:rPr>
                <a:t>AkzoNobel Branded Bullets</a:t>
              </a:r>
              <a:endParaRPr lang="en-US" sz="900" b="0" i="0" u="none" dirty="0">
                <a:solidFill>
                  <a:schemeClr val="tx1"/>
                </a:solidFill>
              </a:endParaRPr>
            </a:p>
          </p:txBody>
        </p:sp>
        <p:grpSp>
          <p:nvGrpSpPr>
            <p:cNvPr id="58" name="Group 57"/>
            <p:cNvGrpSpPr/>
            <p:nvPr/>
          </p:nvGrpSpPr>
          <p:grpSpPr bwMode="gray">
            <a:xfrm>
              <a:off x="-1493181" y="1531453"/>
              <a:ext cx="1335187" cy="795026"/>
              <a:chOff x="-1573454" y="1531453"/>
              <a:chExt cx="1335187" cy="795026"/>
            </a:xfrm>
          </p:grpSpPr>
          <p:pic>
            <p:nvPicPr>
              <p:cNvPr id="59" name="Picture 58"/>
              <p:cNvPicPr>
                <a:picLocks noChangeAspect="1"/>
              </p:cNvPicPr>
              <p:nvPr/>
            </p:nvPicPr>
            <p:blipFill>
              <a:blip r:embed="rId32"/>
              <a:srcRect l="18732" t="14956" r="50206" b="52163"/>
              <a:stretch>
                <a:fillRect/>
              </a:stretch>
            </p:blipFill>
            <p:spPr bwMode="gray">
              <a:xfrm>
                <a:off x="-1573454" y="1531453"/>
                <a:ext cx="1335187" cy="795026"/>
              </a:xfrm>
              <a:custGeom>
                <a:avLst/>
                <a:gdLst>
                  <a:gd name="connsiteX0" fmla="*/ 0 w 2840306"/>
                  <a:gd name="connsiteY0" fmla="*/ 0 h 1691236"/>
                  <a:gd name="connsiteX1" fmla="*/ 2840306 w 2840306"/>
                  <a:gd name="connsiteY1" fmla="*/ 0 h 1691236"/>
                  <a:gd name="connsiteX2" fmla="*/ 2840306 w 2840306"/>
                  <a:gd name="connsiteY2" fmla="*/ 1691236 h 1691236"/>
                  <a:gd name="connsiteX3" fmla="*/ 0 w 2840306"/>
                  <a:gd name="connsiteY3" fmla="*/ 1691236 h 1691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40306" h="1691236">
                    <a:moveTo>
                      <a:pt x="0" y="0"/>
                    </a:moveTo>
                    <a:lnTo>
                      <a:pt x="2840306" y="0"/>
                    </a:lnTo>
                    <a:lnTo>
                      <a:pt x="2840306" y="1691236"/>
                    </a:lnTo>
                    <a:lnTo>
                      <a:pt x="0" y="1691236"/>
                    </a:lnTo>
                    <a:close/>
                  </a:path>
                </a:pathLst>
              </a:custGeom>
            </p:spPr>
          </p:pic>
          <p:sp>
            <p:nvSpPr>
              <p:cNvPr id="60" name="Multiply 59"/>
              <p:cNvSpPr/>
              <p:nvPr/>
            </p:nvSpPr>
            <p:spPr bwMode="gray">
              <a:xfrm>
                <a:off x="-1571627" y="1551174"/>
                <a:ext cx="245272" cy="245272"/>
              </a:xfrm>
              <a:prstGeom prst="mathMultiply">
                <a:avLst>
                  <a:gd name="adj1" fmla="val 8315"/>
                </a:avLst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en-GB" dirty="0" err="1"/>
              </a:p>
            </p:txBody>
          </p:sp>
        </p:grp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782C6A7E-B995-4E2B-84E4-F81BFD0C95F4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5" y="315057"/>
            <a:ext cx="2376000" cy="34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739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88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1" r:id="rId12"/>
    <p:sldLayoutId id="2147483763" r:id="rId13"/>
    <p:sldLayoutId id="2147483765" r:id="rId14"/>
    <p:sldLayoutId id="2147483766" r:id="rId15"/>
    <p:sldLayoutId id="2147483767" r:id="rId16"/>
    <p:sldLayoutId id="2147483769" r:id="rId17"/>
    <p:sldLayoutId id="2147483770" r:id="rId18"/>
    <p:sldLayoutId id="2147483773" r:id="rId19"/>
    <p:sldLayoutId id="2147483774" r:id="rId20"/>
    <p:sldLayoutId id="2147483789" r:id="rId21"/>
    <p:sldLayoutId id="2147483779" r:id="rId22"/>
    <p:sldLayoutId id="2147483780" r:id="rId23"/>
    <p:sldLayoutId id="2147483781" r:id="rId24"/>
    <p:sldLayoutId id="2147483782" r:id="rId25"/>
    <p:sldLayoutId id="2147483783" r:id="rId26"/>
    <p:sldLayoutId id="2147483785" r:id="rId27"/>
  </p:sldLayoutIdLst>
  <p:txStyles>
    <p:titleStyle>
      <a:lvl1pPr marL="0" algn="l" defTabSz="1219170" rtl="0" eaLnBrk="1" latinLnBrk="0" hangingPunct="1">
        <a:lnSpc>
          <a:spcPct val="90000"/>
        </a:lnSpc>
        <a:spcBef>
          <a:spcPct val="0"/>
        </a:spcBef>
        <a:buNone/>
        <a:defRPr lang="en-GB" sz="3000" b="1" kern="0">
          <a:solidFill>
            <a:schemeClr val="accent1"/>
          </a:solidFill>
          <a:latin typeface="+mj-lt"/>
          <a:ea typeface="+mn-ea"/>
          <a:cs typeface="+mn-cs"/>
        </a:defRPr>
      </a:lvl1pPr>
    </p:titleStyle>
    <p:bodyStyle>
      <a:lvl1pPr marL="0" indent="0" algn="l" defTabSz="1219170" rtl="0" eaLnBrk="1" latinLnBrk="0" hangingPunct="1">
        <a:lnSpc>
          <a:spcPct val="80000"/>
        </a:lnSpc>
        <a:spcBef>
          <a:spcPts val="800"/>
        </a:spcBef>
        <a:spcAft>
          <a:spcPts val="300"/>
        </a:spcAft>
        <a:buClr>
          <a:schemeClr val="accent1"/>
        </a:buClr>
        <a:buFont typeface="Arial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lnSpc>
          <a:spcPct val="80000"/>
        </a:lnSpc>
        <a:spcBef>
          <a:spcPts val="800"/>
        </a:spcBef>
        <a:spcAft>
          <a:spcPts val="300"/>
        </a:spcAft>
        <a:buClr>
          <a:schemeClr val="accent1"/>
        </a:buClr>
        <a:buFontTx/>
        <a:buBlip>
          <a:blip r:embed="rId34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649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59976" indent="-239994" algn="l" defTabSz="1219170" rtl="0" eaLnBrk="1" latinLnBrk="0" hangingPunct="1">
        <a:lnSpc>
          <a:spcPct val="80000"/>
        </a:lnSpc>
        <a:spcBef>
          <a:spcPts val="267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0" userDrawn="1">
          <p15:clr>
            <a:srgbClr val="F26B43"/>
          </p15:clr>
        </p15:guide>
        <p15:guide id="2" pos="222" userDrawn="1">
          <p15:clr>
            <a:srgbClr val="F26B43"/>
          </p15:clr>
        </p15:guide>
        <p15:guide id="3" orient="horz" pos="732" userDrawn="1">
          <p15:clr>
            <a:srgbClr val="F26B43"/>
          </p15:clr>
        </p15:guide>
        <p15:guide id="4" orient="horz" pos="810" userDrawn="1">
          <p15:clr>
            <a:srgbClr val="F26B43"/>
          </p15:clr>
        </p15:guide>
        <p15:guide id="5" orient="horz" pos="3780" userDrawn="1">
          <p15:clr>
            <a:srgbClr val="F26B43"/>
          </p15:clr>
        </p15:guide>
        <p15:guide id="6" pos="5544" userDrawn="1">
          <p15:clr>
            <a:srgbClr val="F26B43"/>
          </p15:clr>
        </p15:guide>
        <p15:guide id="7" orient="horz" pos="39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96BC0F12-B7E8-4AD9-AA68-269631861407}"/>
              </a:ext>
            </a:extLst>
          </p:cNvPr>
          <p:cNvSpPr txBox="1"/>
          <p:nvPr/>
        </p:nvSpPr>
        <p:spPr>
          <a:xfrm>
            <a:off x="82471" y="760102"/>
            <a:ext cx="8037328" cy="5940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it-IT" sz="2000" b="1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itolo:</a:t>
            </a:r>
            <a:r>
              <a:rPr lang="it-IT" sz="20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</a:p>
          <a:p>
            <a:r>
              <a:rPr lang="it-IT" sz="2000" b="1" dirty="0">
                <a:solidFill>
                  <a:schemeClr val="bg1"/>
                </a:solidFill>
                <a:latin typeface="Helvetica"/>
                <a:ea typeface="Calibri" panose="020F0502020204030204" pitchFamily="34" charset="0"/>
                <a:cs typeface="Helvetica"/>
              </a:rPr>
              <a:t>SISTEMI PROFESSIONALI PER LA CURA E </a:t>
            </a:r>
          </a:p>
          <a:p>
            <a:r>
              <a:rPr lang="it-IT" sz="2000" b="1" dirty="0">
                <a:solidFill>
                  <a:schemeClr val="bg1"/>
                </a:solidFill>
                <a:latin typeface="Helvetica"/>
                <a:ea typeface="Calibri" panose="020F0502020204030204" pitchFamily="34" charset="0"/>
                <a:cs typeface="Helvetica"/>
              </a:rPr>
              <a:t>CONSERVAZIONE SOSTENIBILE DEGLI EDIFICI</a:t>
            </a:r>
          </a:p>
          <a:p>
            <a:endParaRPr lang="it-IT" sz="2000" b="1" dirty="0">
              <a:solidFill>
                <a:schemeClr val="bg1"/>
              </a:solidFill>
              <a:latin typeface="Helvetica"/>
              <a:ea typeface="Calibri" panose="020F0502020204030204" pitchFamily="34" charset="0"/>
              <a:cs typeface="Helvetica"/>
            </a:endParaRPr>
          </a:p>
          <a:p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E 15:00 </a:t>
            </a:r>
            <a:r>
              <a:rPr lang="it-IT" sz="2000" b="1" dirty="0">
                <a:solidFill>
                  <a:schemeClr val="bg1"/>
                </a:solidFill>
                <a:effectLst/>
                <a:latin typeface="Wingdings" panose="05000000000000000000" pitchFamily="2" charset="2"/>
                <a:ea typeface="Calibri" panose="020F0502020204030204" pitchFamily="34" charset="0"/>
              </a:rPr>
              <a:t>à</a:t>
            </a:r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Registrazione </a:t>
            </a:r>
          </a:p>
          <a:p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it-IT" sz="20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E 15:30 </a:t>
            </a:r>
            <a:r>
              <a:rPr lang="it-IT" sz="2000" b="1" dirty="0">
                <a:solidFill>
                  <a:schemeClr val="bg1"/>
                </a:solidFill>
                <a:effectLst/>
                <a:latin typeface="Wingdings" panose="05000000000000000000" pitchFamily="2" charset="2"/>
                <a:ea typeface="Calibri" panose="020F0502020204030204" pitchFamily="34" charset="0"/>
              </a:rPr>
              <a:t>à</a:t>
            </a:r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Apertura lavori </a:t>
            </a:r>
            <a:r>
              <a:rPr lang="it-IT" sz="20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(a cura  dell’</a:t>
            </a:r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dine degli Architetti</a:t>
            </a:r>
            <a:r>
              <a:rPr lang="it-IT" sz="20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)</a:t>
            </a:r>
          </a:p>
          <a:p>
            <a:pPr algn="just"/>
            <a:endParaRPr lang="it-IT" sz="20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E 15:45 </a:t>
            </a:r>
            <a:r>
              <a:rPr lang="it-IT" sz="2000" b="1" dirty="0">
                <a:solidFill>
                  <a:schemeClr val="bg1"/>
                </a:solidFill>
                <a:effectLst/>
                <a:latin typeface="Wingdings" panose="05000000000000000000" pitchFamily="2" charset="2"/>
                <a:ea typeface="Calibri" panose="020F0502020204030204" pitchFamily="34" charset="0"/>
              </a:rPr>
              <a:t>à</a:t>
            </a:r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Relatore Massimiliano Mirabell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chemeClr val="bg1"/>
                </a:solidFill>
                <a:latin typeface="Calibri" panose="020F0502020204030204" pitchFamily="34" charset="0"/>
              </a:rPr>
              <a:t>Esterni: Pitture e rivestimenti per supporti murali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chemeClr val="bg1"/>
                </a:solidFill>
                <a:latin typeface="Calibri" panose="020F0502020204030204" pitchFamily="34" charset="0"/>
              </a:rPr>
              <a:t>Le finiture: La chimica e le caratteristiche tecniche a confronto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it-IT" sz="20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E 16:30 </a:t>
            </a:r>
            <a:r>
              <a:rPr lang="it-IT" sz="2000" b="1" dirty="0">
                <a:solidFill>
                  <a:schemeClr val="bg1"/>
                </a:solidFill>
                <a:effectLst/>
                <a:latin typeface="Wingdings" panose="05000000000000000000" pitchFamily="2" charset="2"/>
                <a:ea typeface="Calibri" panose="020F0502020204030204" pitchFamily="34" charset="0"/>
              </a:rPr>
              <a:t>à</a:t>
            </a:r>
            <a:r>
              <a:rPr lang="it-IT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elatore Platini Daniel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chemeClr val="bg1"/>
                </a:solidFill>
                <a:latin typeface="Calibri" panose="020F0502020204030204" pitchFamily="34" charset="0"/>
              </a:rPr>
              <a:t>Sostenibilità: Progetto HALO e le pitture del benessere Sikken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chemeClr val="bg1"/>
                </a:solidFill>
                <a:latin typeface="Calibri" panose="020F0502020204030204" pitchFamily="34" charset="0"/>
              </a:rPr>
              <a:t>Colour Futures: La collezione colori del 2023</a:t>
            </a:r>
          </a:p>
          <a:p>
            <a:pPr algn="just"/>
            <a:endParaRPr lang="it-IT" sz="2000" b="1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just"/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RE 17.15 </a:t>
            </a:r>
            <a:r>
              <a:rPr lang="it-IT" sz="2000" b="1" dirty="0">
                <a:solidFill>
                  <a:schemeClr val="bg1"/>
                </a:solidFill>
                <a:effectLst/>
                <a:latin typeface="Wingdings" panose="05000000000000000000" pitchFamily="2" charset="2"/>
                <a:ea typeface="Calibri" panose="020F0502020204030204" pitchFamily="34" charset="0"/>
              </a:rPr>
              <a:t>à</a:t>
            </a:r>
            <a:r>
              <a:rPr lang="it-IT" sz="20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it-IT" sz="20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ibattito e rinfresco</a:t>
            </a:r>
          </a:p>
          <a:p>
            <a:r>
              <a:rPr lang="en-US" sz="20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it-IT" sz="20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2652148A-4ECD-4DFC-9BEA-18A07A1AC587}"/>
              </a:ext>
            </a:extLst>
          </p:cNvPr>
          <p:cNvSpPr txBox="1"/>
          <p:nvPr/>
        </p:nvSpPr>
        <p:spPr>
          <a:xfrm>
            <a:off x="553336" y="6405032"/>
            <a:ext cx="803732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2200" b="1" dirty="0">
                <a:solidFill>
                  <a:srgbClr val="FFFF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 la partecipazione verranno riconosciuti 2 CFP</a:t>
            </a:r>
            <a:endParaRPr lang="it-IT" sz="2200" b="1" dirty="0">
              <a:solidFill>
                <a:srgbClr val="FFFF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2BC2C296-E050-41DC-94DE-C14F5D586A9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71" y="137779"/>
            <a:ext cx="1674892" cy="829754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240AF12E-677D-4138-9B47-C9C736FEB2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4321" y="1202900"/>
            <a:ext cx="2869670" cy="574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139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_Functions_4x3">
  <a:themeElements>
    <a:clrScheme name="AkzoNobel">
      <a:dk1>
        <a:srgbClr val="000000"/>
      </a:dk1>
      <a:lt1>
        <a:srgbClr val="FFFFFF"/>
      </a:lt1>
      <a:dk2>
        <a:srgbClr val="868688"/>
      </a:dk2>
      <a:lt2>
        <a:srgbClr val="B7B9BA"/>
      </a:lt2>
      <a:accent1>
        <a:srgbClr val="005192"/>
      </a:accent1>
      <a:accent2>
        <a:srgbClr val="56378A"/>
      </a:accent2>
      <a:accent3>
        <a:srgbClr val="952D98"/>
      </a:accent3>
      <a:accent4>
        <a:srgbClr val="C3004A"/>
      </a:accent4>
      <a:accent5>
        <a:srgbClr val="0092BB"/>
      </a:accent5>
      <a:accent6>
        <a:srgbClr val="44697D"/>
      </a:accent6>
      <a:hlink>
        <a:srgbClr val="008BC5"/>
      </a:hlink>
      <a:folHlink>
        <a:srgbClr val="005192"/>
      </a:folHlink>
    </a:clrScheme>
    <a:fontScheme name="AkzoNob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lIns="0" tIns="0" rIns="0" bIns="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b="0" dirty="0" smtClean="0"/>
        </a:defPPr>
      </a:lstStyle>
    </a:txDef>
  </a:objectDefaults>
  <a:extraClrSchemeLst/>
  <a:custClrLst>
    <a:custClr name="AN Dark Blue">
      <a:srgbClr val="005192"/>
    </a:custClr>
    <a:custClr name="AN Purple">
      <a:srgbClr val="56378A"/>
    </a:custClr>
    <a:custClr name="AN Violet">
      <a:srgbClr val="952D98"/>
    </a:custClr>
    <a:custClr name="AN Fuchsia">
      <a:srgbClr val="C3004A"/>
    </a:custClr>
    <a:custClr name="AN Turquoise">
      <a:srgbClr val="0092BB"/>
    </a:custClr>
    <a:custClr name="AN Gray Blue">
      <a:srgbClr val="44697D"/>
    </a:custClr>
    <a:custClr name="AN Gray">
      <a:srgbClr val="868688"/>
    </a:custClr>
    <a:custClr name=" ">
      <a:srgbClr val="FFFFFF"/>
    </a:custClr>
    <a:custClr name=" ">
      <a:srgbClr val="FFFFFF"/>
    </a:custClr>
    <a:custClr name=" ">
      <a:srgbClr val="FFFFFF"/>
    </a:custClr>
    <a:custClr name="AN Light Blue">
      <a:srgbClr val="008BC5"/>
    </a:custClr>
    <a:custClr name="AN Pale Purple">
      <a:srgbClr val="C5BBDA"/>
    </a:custClr>
    <a:custClr name="AN Pale Violet">
      <a:srgbClr val="C966CD"/>
    </a:custClr>
    <a:custClr name="AN Pale Fuchsia">
      <a:srgbClr val="E64487"/>
    </a:custClr>
    <a:custClr name="AN Pale Turquoise">
      <a:srgbClr val="55BECF"/>
    </a:custClr>
    <a:custClr name="AN Pale Gray Blue">
      <a:srgbClr val="B9C9D0"/>
    </a:custClr>
    <a:custClr name="AN Pale Gray">
      <a:srgbClr val="B7B9BA"/>
    </a:custClr>
  </a:custClrLst>
  <a:extLst>
    <a:ext uri="{05A4C25C-085E-4340-85A3-A5531E510DB2}">
      <thm15:themeFamily xmlns:thm15="http://schemas.microsoft.com/office/thememl/2012/main" name="Presentation3" id="{0744F8DD-0817-9B4D-8855-89D0114A9FCC}" vid="{180361A9-0ECA-4A42-83FD-A7730656E87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N_Corporate_Template_4x3</Template>
  <TotalTime>67</TotalTime>
  <Words>92</Words>
  <Application>Microsoft Office PowerPoint</Application>
  <PresentationFormat>Presentazione su schermo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7" baseType="lpstr">
      <vt:lpstr>Arial</vt:lpstr>
      <vt:lpstr>Calibri</vt:lpstr>
      <vt:lpstr>Helvetica</vt:lpstr>
      <vt:lpstr>Wingdings</vt:lpstr>
      <vt:lpstr>AN_Functions_4x3</vt:lpstr>
      <vt:lpstr>think-cell Slide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RIFO', G. (GIORGIA)</dc:creator>
  <dc:description>v3.2</dc:description>
  <cp:lastModifiedBy>Platini, D. (Daniele)</cp:lastModifiedBy>
  <cp:revision>13</cp:revision>
  <dcterms:created xsi:type="dcterms:W3CDTF">2022-06-01T08:47:32Z</dcterms:created>
  <dcterms:modified xsi:type="dcterms:W3CDTF">2022-09-27T07:00:41Z</dcterms:modified>
</cp:coreProperties>
</file>